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1" r:id="rId2"/>
    <p:sldMasterId id="2147483663" r:id="rId3"/>
    <p:sldMasterId id="2147483688" r:id="rId4"/>
    <p:sldMasterId id="2147483714" r:id="rId5"/>
  </p:sldMasterIdLst>
  <p:notesMasterIdLst>
    <p:notesMasterId r:id="rId19"/>
  </p:notesMasterIdLst>
  <p:sldIdLst>
    <p:sldId id="256" r:id="rId6"/>
    <p:sldId id="581" r:id="rId7"/>
    <p:sldId id="2147471927" r:id="rId8"/>
    <p:sldId id="595" r:id="rId9"/>
    <p:sldId id="576" r:id="rId10"/>
    <p:sldId id="610" r:id="rId11"/>
    <p:sldId id="2147471929" r:id="rId12"/>
    <p:sldId id="603" r:id="rId13"/>
    <p:sldId id="604" r:id="rId14"/>
    <p:sldId id="611" r:id="rId15"/>
    <p:sldId id="2147471930" r:id="rId16"/>
    <p:sldId id="2147471932" r:id="rId17"/>
    <p:sldId id="2147471933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47368E6-8FFA-4776-AEF7-63223D10A8FA}">
          <p14:sldIdLst>
            <p14:sldId id="256"/>
            <p14:sldId id="581"/>
            <p14:sldId id="2147471927"/>
            <p14:sldId id="595"/>
            <p14:sldId id="576"/>
            <p14:sldId id="610"/>
            <p14:sldId id="2147471929"/>
            <p14:sldId id="603"/>
            <p14:sldId id="604"/>
            <p14:sldId id="611"/>
            <p14:sldId id="2147471930"/>
            <p14:sldId id="2147471932"/>
            <p14:sldId id="2147471933"/>
          </p14:sldIdLst>
        </p14:section>
        <p14:section name="Untitled Section" id="{26C55AD2-5EA2-49B7-B33E-3757E57D358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33" autoAdjust="0"/>
    <p:restoredTop sz="94660"/>
  </p:normalViewPr>
  <p:slideViewPr>
    <p:cSldViewPr snapToGrid="0">
      <p:cViewPr varScale="1">
        <p:scale>
          <a:sx n="82" d="100"/>
          <a:sy n="82" d="100"/>
        </p:scale>
        <p:origin x="28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73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320E40-2D6A-4B46-B232-537DB2A4B064}" type="datetimeFigureOut">
              <a:rPr lang="en-US" smtClean="0"/>
              <a:t>5/1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5312D-FC9B-44D1-AA9B-C61A7B7D7E9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600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7.emf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F8BD6-0D23-4A70-F53A-7CA3634DD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230" y="221347"/>
            <a:ext cx="11660372" cy="542187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D79BB1-02B1-4494-900C-F7189B3F2F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3076" y="921715"/>
            <a:ext cx="11818924" cy="5198539"/>
          </a:xfrm>
        </p:spPr>
        <p:txBody>
          <a:bodyPr/>
          <a:lstStyle>
            <a:lvl1pPr marL="228600" indent="-228600"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569913" indent="-225425">
              <a:buClr>
                <a:schemeClr val="accent2"/>
              </a:buClr>
              <a:buFont typeface="Calibri" panose="020F0502020204030204" pitchFamily="34" charset="0"/>
              <a:buChar char="̶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3E3394-E4B3-896F-6ED8-04AC943EC7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20051" y="6395188"/>
            <a:ext cx="4114800" cy="365125"/>
          </a:xfrm>
        </p:spPr>
        <p:txBody>
          <a:bodyPr/>
          <a:lstStyle/>
          <a:p>
            <a:r>
              <a:rPr lang="en-US" dirty="0"/>
              <a:t>Internal - do not circu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B53300-E697-889F-F63B-7FB9BB533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7205" y="6492875"/>
            <a:ext cx="444795" cy="36512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70F08CB-7F13-42F5-9C5A-FCEB8B89E79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35BC597-2DCC-400C-0D8F-A46EF6B11233}"/>
              </a:ext>
            </a:extLst>
          </p:cNvPr>
          <p:cNvCxnSpPr>
            <a:cxnSpLocks/>
          </p:cNvCxnSpPr>
          <p:nvPr userDrawn="1"/>
        </p:nvCxnSpPr>
        <p:spPr>
          <a:xfrm>
            <a:off x="424282" y="733416"/>
            <a:ext cx="11817337" cy="17951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3100CB6-75BB-D518-6413-00AE6480F4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9230" y="6454090"/>
            <a:ext cx="1173615" cy="36512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20F0645-FD19-F2DC-008B-DD57CD7BB6AE}"/>
              </a:ext>
            </a:extLst>
          </p:cNvPr>
          <p:cNvCxnSpPr>
            <a:cxnSpLocks/>
          </p:cNvCxnSpPr>
          <p:nvPr userDrawn="1"/>
        </p:nvCxnSpPr>
        <p:spPr>
          <a:xfrm>
            <a:off x="1528877" y="6792395"/>
            <a:ext cx="10663123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7556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640997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555224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129060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57733" y="88901"/>
            <a:ext cx="2819400" cy="58531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7418" y="88901"/>
            <a:ext cx="8257116" cy="58531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750043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6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85761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368FC967-E25B-4DC7-87C0-1C454DF70C3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6339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A828A8A-A900-4765-BE54-8F6A7A59D33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02263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F31EDC-29F8-4FDE-A096-1A8A5A19E28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52331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AFAA40D-DF08-40E5-9F38-B7BC60CAE2A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11163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F458B07D-B1E9-499A-953F-B5C3869B847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10625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F0662-760A-E9F3-E131-0623101C52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1025414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35CA98-8D02-377F-D279-272C340328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6876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CC6CDA-3D43-C9DB-B619-2CA0EF011E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13057"/>
            <a:ext cx="4114800" cy="365125"/>
          </a:xfrm>
        </p:spPr>
        <p:txBody>
          <a:bodyPr/>
          <a:lstStyle/>
          <a:p>
            <a:r>
              <a:rPr lang="en-US" dirty="0"/>
              <a:t>Internal - do not circu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F9C3C-87A2-D4C5-8159-D8D493348E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38344" y="6420072"/>
            <a:ext cx="453656" cy="365125"/>
          </a:xfrm>
        </p:spPr>
        <p:txBody>
          <a:bodyPr/>
          <a:lstStyle/>
          <a:p>
            <a:fld id="{C70F08CB-7F13-42F5-9C5A-FCEB8B89E79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2620D1D-FD94-18B1-CD14-FA90419441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8882" y="6469690"/>
            <a:ext cx="1173615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4117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550AD6C-84CC-4A5E-86D3-FC3E11464A67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59840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B60F8D1-6788-4364-B4B7-3C4167F5F146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7370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A59EF9D1-1D6E-44E8-A7EE-5EC5CD3E4ADE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04903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E752000-55A0-4553-BBD4-CFFEEB173D51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21059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5D8B96A5-E1D7-454B-BFDF-E714B7BF1A08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01320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F8FEEF0-7EAC-424F-8BDF-62D59EECC53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89383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41390A8-E354-4A21-9BC8-95E43BAF20C3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07057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344" y="431800"/>
            <a:ext cx="11753977" cy="54403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0CBFDB8-0ABA-4B5D-BB97-3F0F3764BA33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82157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9681CFB-FE37-42E9-972B-7EE5E370AF9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56548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E9AD9D9-F800-41FA-B6C4-3F1480191AA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38578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owerpoint_land_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7" y="0"/>
            <a:ext cx="1220046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1" y="5927726"/>
            <a:ext cx="9599084" cy="360363"/>
          </a:xfrm>
        </p:spPr>
        <p:txBody>
          <a:bodyPr wrap="none"/>
          <a:lstStyle>
            <a:lvl1pPr marL="0" indent="0">
              <a:buFont typeface="Arial" charset="0"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916518" y="4035426"/>
            <a:ext cx="9596967" cy="4222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2302786"/>
      </p:ext>
    </p:extLst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8192C09A-BEA4-4445-B8BC-DEC53FCADD78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985661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4" y="1965579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3B742DD-8773-4E2A-9EEB-2648EDB3335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2626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F107B34-1A56-43EE-86C9-2DAE19548ED2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79247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5595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0E0C30BE-3111-461B-8F9D-AEA244FE4A01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448236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343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8AF7673-4E49-421A-A8F9-8B568C2E52E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85267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A2F219F5-2D10-43F8-A53B-34A1ADD86956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471020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4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6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344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5596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4497A7C5-BC5F-48E8-AE9A-063AD7EF3F5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03351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464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570400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463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697263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6" y="1965579"/>
            <a:ext cx="5800852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E33138-ACF4-4AA0-BCDB-3A9F2443B8D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15371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368FC967-E25B-4DC7-87C0-1C454DF70C3D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00478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091000"/>
      </p:ext>
    </p:extLst>
  </p:cSld>
  <p:clrMapOvr>
    <a:masterClrMapping/>
  </p:clrMapOvr>
  <p:transition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A828A8A-A900-4765-BE54-8F6A7A59D33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75299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0F31EDC-29F8-4FDE-A096-1A8A5A19E28A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13328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AFAA40D-DF08-40E5-9F38-B7BC60CAE2A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63937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F458B07D-B1E9-499A-953F-B5C3869B847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550580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550AD6C-84CC-4A5E-86D3-FC3E11464A67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710916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B60F8D1-6788-4364-B4B7-3C4167F5F146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44917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A59EF9D1-1D6E-44E8-A7EE-5EC5CD3E4ADE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12202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E752000-55A0-4553-BBD4-CFFEEB173D51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0687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5D8B96A5-E1D7-454B-BFDF-E714B7BF1A08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046994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F8FEEF0-7EAC-424F-8BDF-62D59EECC53C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2216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2200" b="1" cap="none" baseline="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704262"/>
      </p:ext>
    </p:extLst>
  </p:cSld>
  <p:clrMapOvr>
    <a:masterClrMapping/>
  </p:clrMapOvr>
  <p:transition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E41390A8-E354-4A21-9BC8-95E43BAF20C3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6786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344" y="431800"/>
            <a:ext cx="11753977" cy="54403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0CBFDB8-0ABA-4B5D-BB97-3F0F3764BA33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90151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345" y="1965579"/>
            <a:ext cx="1175397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9681CFB-FE37-42E9-972B-7EE5E370AF9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26298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2E9AD9D9-F800-41FA-B6C4-3F1480191AA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62314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8192C09A-BEA4-4445-B8BC-DEC53FCADD78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85088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44" y="1965579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13B742DD-8773-4E2A-9EEB-2648EDB3335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30983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4" y="1965579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F107B34-1A56-43EE-86C9-2DAE19548ED2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92665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43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5595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0E0C30BE-3111-461B-8F9D-AEA244FE4A01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20751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343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5595" y="1965579"/>
            <a:ext cx="5800852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8AF7673-4E49-421A-A8F9-8B568C2E52E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63765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3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5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344" y="3994785"/>
            <a:ext cx="1175397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A2F219F5-2D10-43F8-A53B-34A1ADD86956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6295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7417" y="1211263"/>
            <a:ext cx="5537200" cy="47307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7818" y="1211263"/>
            <a:ext cx="5539316" cy="47307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819032"/>
      </p:ext>
    </p:extLst>
  </p:cSld>
  <p:clrMapOvr>
    <a:masterClrMapping/>
  </p:clrMapOvr>
  <p:transition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44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5596" y="1965579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344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5596" y="3994785"/>
            <a:ext cx="5800852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4497A7C5-BC5F-48E8-AE9A-063AD7EF3F55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03065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464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570400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3463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308944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owerpoint_land_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7" y="0"/>
            <a:ext cx="1220046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1" y="5927726"/>
            <a:ext cx="9599084" cy="360363"/>
          </a:xfrm>
        </p:spPr>
        <p:txBody>
          <a:bodyPr wrap="none"/>
          <a:lstStyle>
            <a:lvl1pPr marL="0" indent="0">
              <a:buFont typeface="Arial" charset="0"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916518" y="4035426"/>
            <a:ext cx="9596967" cy="4222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3682867"/>
      </p:ext>
    </p:extLst>
  </p:cSld>
  <p:clrMapOvr>
    <a:masterClrMapping/>
  </p:clrMapOvr>
  <p:transition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869465"/>
      </p:ext>
    </p:extLst>
  </p:cSld>
  <p:clrMapOvr>
    <a:masterClrMapping/>
  </p:clrMapOvr>
  <p:transition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2200" b="1" cap="none" baseline="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334176"/>
      </p:ext>
    </p:extLst>
  </p:cSld>
  <p:clrMapOvr>
    <a:masterClrMapping/>
  </p:clrMapOvr>
  <p:transition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7417" y="1211263"/>
            <a:ext cx="5537200" cy="47307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7818" y="1211263"/>
            <a:ext cx="5539316" cy="47307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495189"/>
      </p:ext>
    </p:extLst>
  </p:cSld>
  <p:clrMapOvr>
    <a:masterClrMapping/>
  </p:clrMapOvr>
  <p:transition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 marL="0" indent="0">
              <a:buNone/>
              <a:defRPr lang="en-US" sz="2000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286596"/>
      </p:ext>
    </p:extLst>
  </p:cSld>
  <p:clrMapOvr>
    <a:masterClrMapping/>
  </p:clrMapOvr>
  <p:transition>
    <p:wipe dir="r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370912"/>
      </p:ext>
    </p:extLst>
  </p:cSld>
  <p:clrMapOvr>
    <a:masterClrMapping/>
  </p:clrMapOvr>
  <p:transition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022653"/>
      </p:ext>
    </p:extLst>
  </p:cSld>
  <p:clrMapOvr>
    <a:masterClrMapping/>
  </p:clrMapOvr>
  <p:transition>
    <p:wipe dir="r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779520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 marL="0" indent="0">
              <a:buNone/>
              <a:defRPr lang="en-US" sz="2000" b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903578"/>
      </p:ext>
    </p:extLst>
  </p:cSld>
  <p:clrMapOvr>
    <a:masterClrMapping/>
  </p:clrMapOvr>
  <p:transition>
    <p:wipe dir="r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960942"/>
      </p:ext>
    </p:extLst>
  </p:cSld>
  <p:clrMapOvr>
    <a:masterClrMapping/>
  </p:clrMapOvr>
  <p:transition>
    <p:wipe dir="r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755748"/>
      </p:ext>
    </p:extLst>
  </p:cSld>
  <p:clrMapOvr>
    <a:masterClrMapping/>
  </p:clrMapOvr>
  <p:transition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57733" y="88901"/>
            <a:ext cx="2819400" cy="58531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7418" y="88901"/>
            <a:ext cx="8257116" cy="58531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044260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677241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7999683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image" Target="../media/image5.emf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image" Target="../media/image6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image" Target="../media/image5.emf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CCC91A-7C39-C90E-2484-24AD755F7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5E8BBE-5B97-F206-CBC1-89CC015DF6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BFE2FC-C7BA-B3CB-F5AB-3A9A9D9AD2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8A616B-4EE9-7863-D9FC-E1D7E53A77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Internal - do not circu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FA3E2D-7E71-2105-B3F8-274243D169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0F08CB-7F13-42F5-9C5A-FCEB8B89E79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226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ppt_land_print_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73789"/>
            <a:ext cx="1219200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7418" y="88900"/>
            <a:ext cx="11271249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7418" y="1211263"/>
            <a:ext cx="11279716" cy="473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83350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1200"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1584" y="6483350"/>
            <a:ext cx="742949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ts val="600"/>
              </a:spcAft>
              <a:tabLst>
                <a:tab pos="441325" algn="l"/>
              </a:tabLst>
            </a:pPr>
            <a:fld id="{B7BFF2CF-7F00-44A4-B8EB-5031077863CB}" type="slidenum">
              <a:rPr lang="en-US" sz="1200">
                <a:solidFill>
                  <a:srgbClr val="626469"/>
                </a:solidFill>
                <a:cs typeface="Arial" charset="0"/>
              </a:rPr>
              <a:pPr eaLnBrk="0" fontAlgn="base" hangingPunct="0">
                <a:spcBef>
                  <a:spcPct val="0"/>
                </a:spcBef>
                <a:spcAft>
                  <a:spcPts val="600"/>
                </a:spcAft>
                <a:tabLst>
                  <a:tab pos="441325" algn="l"/>
                </a:tabLst>
              </a:pPr>
              <a:t>‹#›</a:t>
            </a:fld>
            <a:r>
              <a:rPr lang="en-US" sz="1200" dirty="0">
                <a:solidFill>
                  <a:srgbClr val="626469"/>
                </a:solidFill>
                <a:cs typeface="Arial" charset="0"/>
              </a:rPr>
              <a:t>	</a:t>
            </a:r>
          </a:p>
        </p:txBody>
      </p:sp>
      <p:pic>
        <p:nvPicPr>
          <p:cNvPr id="1031" name="Picture 8" descr="new logo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34" y="6403975"/>
            <a:ext cx="1566333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847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p:transition>
    <p:wipe dir="r"/>
  </p:transition>
  <p:txStyles>
    <p:titleStyle>
      <a:lvl1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76275" indent="-27622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2pPr>
      <a:lvl3pPr marL="1144588" indent="-287338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3pPr>
      <a:lvl4pPr marL="1619250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4pPr>
      <a:lvl5pPr marL="20939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5pPr>
      <a:lvl6pPr marL="25511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6pPr>
      <a:lvl7pPr marL="30083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7pPr>
      <a:lvl8pPr marL="34655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8pPr>
      <a:lvl9pPr marL="39227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B703AAA-4FFC-42AB-86A4-EDADCDEA8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50526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B703AAA-4FFC-42AB-86A4-EDADCDEA8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8000" y="6516000"/>
            <a:ext cx="7920000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600" y="6516000"/>
            <a:ext cx="468000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2DB60D2-BC6A-46E6-9CF7-E32531D2CD2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800" y="6516000"/>
            <a:ext cx="360000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400" y="1965600"/>
            <a:ext cx="1175400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8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MSIPCMContentMarking" descr="{&quot;HashCode&quot;:-1038031055,&quot;Placement&quot;:&quot;Footer&quot;,&quot;Top&quot;:520.3781,&quot;Left&quot;:452.558044,&quot;SlideWidth&quot;:960,&quot;SlideHeight&quot;:540}">
            <a:extLst>
              <a:ext uri="{FF2B5EF4-FFF2-40B4-BE49-F238E27FC236}">
                <a16:creationId xmlns:a16="http://schemas.microsoft.com/office/drawing/2014/main" id="{23277907-16C0-41D1-8EB2-DD7A2A8A0F65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525911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B703AAA-4FFC-42AB-86A4-EDADCDEA8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50526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60" imgH="360" progId="TCLayout.ActiveDocument.1">
                  <p:embed/>
                </p:oleObj>
              </mc:Choice>
              <mc:Fallback>
                <p:oleObj name="think-cell Folie" r:id="rId27" imgW="360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B703AAA-4FFC-42AB-86A4-EDADCDEA87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8000" y="6516000"/>
            <a:ext cx="7920000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| Optiona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600" y="6516000"/>
            <a:ext cx="468000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C2DB60D2-BC6A-46E6-9CF7-E32531D2CD29}" type="datetime1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0.05.202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800" y="6516000"/>
            <a:ext cx="360000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ClrTx/>
              <a:buSzTx/>
              <a:buFontTx/>
              <a:buNone/>
              <a:tabLst/>
              <a:defRPr/>
            </a:pPr>
            <a:fld id="{D7C0CCF7-DF53-4ADB-AAD8-9742C01AD446}" type="slidenum">
              <a:rPr kumimoji="0" lang="de-DE" sz="9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10"/>
                </a:spcBef>
                <a:spcAft>
                  <a:spcPts val="11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400" y="1965600"/>
            <a:ext cx="1175400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8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600" y="432000"/>
            <a:ext cx="11736000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MSIPCMContentMarking" descr="{&quot;HashCode&quot;:-1038031055,&quot;Placement&quot;:&quot;Footer&quot;,&quot;Top&quot;:520.3781,&quot;Left&quot;:452.558044,&quot;SlideWidth&quot;:960,&quot;SlideHeight&quot;:540}">
            <a:extLst>
              <a:ext uri="{FF2B5EF4-FFF2-40B4-BE49-F238E27FC236}">
                <a16:creationId xmlns:a16="http://schemas.microsoft.com/office/drawing/2014/main" id="{23277907-16C0-41D1-8EB2-DD7A2A8A0F65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559921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000" indent="-342000" algn="l" defTabSz="914400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800" indent="-266400" algn="l" defTabSz="914400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900000" indent="-2772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4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600" indent="-266400" algn="l" defTabSz="91440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8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80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52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400" indent="-266400" algn="l" defTabSz="914400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ppt_land_print_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73789"/>
            <a:ext cx="1219200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7418" y="88900"/>
            <a:ext cx="11271249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7418" y="1211263"/>
            <a:ext cx="11279716" cy="473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56217" y="6483350"/>
            <a:ext cx="76708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1200"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391584" y="6483350"/>
            <a:ext cx="742949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ts val="600"/>
              </a:spcAft>
              <a:tabLst>
                <a:tab pos="441325" algn="l"/>
              </a:tabLst>
            </a:pPr>
            <a:fld id="{B7BFF2CF-7F00-44A4-B8EB-5031077863CB}" type="slidenum">
              <a:rPr lang="en-US" sz="1200">
                <a:solidFill>
                  <a:srgbClr val="626469"/>
                </a:solidFill>
                <a:cs typeface="Arial" charset="0"/>
              </a:rPr>
              <a:pPr eaLnBrk="0" fontAlgn="base" hangingPunct="0">
                <a:spcBef>
                  <a:spcPct val="0"/>
                </a:spcBef>
                <a:spcAft>
                  <a:spcPts val="600"/>
                </a:spcAft>
                <a:tabLst>
                  <a:tab pos="441325" algn="l"/>
                </a:tabLst>
              </a:pPr>
              <a:t>‹#›</a:t>
            </a:fld>
            <a:r>
              <a:rPr lang="en-US" sz="1200" dirty="0">
                <a:solidFill>
                  <a:srgbClr val="626469"/>
                </a:solidFill>
                <a:cs typeface="Arial" charset="0"/>
              </a:rPr>
              <a:t>	</a:t>
            </a:r>
          </a:p>
        </p:txBody>
      </p:sp>
      <p:pic>
        <p:nvPicPr>
          <p:cNvPr id="1031" name="Picture 8" descr="new logo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6434" y="6403975"/>
            <a:ext cx="1566333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3000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transition>
    <p:wipe dir="r"/>
  </p:transition>
  <p:txStyles>
    <p:titleStyle>
      <a:lvl1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76275" indent="-27622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2pPr>
      <a:lvl3pPr marL="1144588" indent="-287338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3pPr>
      <a:lvl4pPr marL="1619250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4pPr>
      <a:lvl5pPr marL="20939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5pPr>
      <a:lvl6pPr marL="25511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6pPr>
      <a:lvl7pPr marL="30083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7pPr>
      <a:lvl8pPr marL="34655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8pPr>
      <a:lvl9pPr marL="39227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10" Type="http://schemas.openxmlformats.org/officeDocument/2006/relationships/image" Target="../media/image29.sv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syngenta-my.sharepoint.com/personal/jenninah_mbogoh_syngenta_com/Documents/Documents/CPD%20files%202023/PPE%20colaboration/Githunguri_Kenya%20PPE_Cost_GroupSurvey_Individividual.xlsx" TargetMode="External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0" name="Rectangle 29">
            <a:extLst>
              <a:ext uri="{FF2B5EF4-FFF2-40B4-BE49-F238E27FC236}">
                <a16:creationId xmlns:a16="http://schemas.microsoft.com/office/drawing/2014/main" id="{DAF1966E-FD40-4A4A-B61B-C4DF7FA05F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41" name="Rectangle 31">
            <a:extLst>
              <a:ext uri="{FF2B5EF4-FFF2-40B4-BE49-F238E27FC236}">
                <a16:creationId xmlns:a16="http://schemas.microsoft.com/office/drawing/2014/main" id="{047BFA19-D45E-416B-A404-7AF2F3F270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rgbClr val="E1E1E1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42" name="Rectangle 33">
            <a:extLst>
              <a:ext uri="{FF2B5EF4-FFF2-40B4-BE49-F238E27FC236}">
                <a16:creationId xmlns:a16="http://schemas.microsoft.com/office/drawing/2014/main" id="{8E0105E7-23DB-4CF2-8258-FF47C762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938086-2CFD-2F35-E86B-2C00AD969D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5568" y="548640"/>
            <a:ext cx="10168128" cy="117957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25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USER INPUT FOR PPE FOR PESTICIDE OPERATORS: A GLOBAL FRAMEWORK FOR DATA COLLECTION</a:t>
            </a:r>
          </a:p>
        </p:txBody>
      </p:sp>
      <p:sp>
        <p:nvSpPr>
          <p:cNvPr id="43" name="Rectangle 35">
            <a:extLst>
              <a:ext uri="{FF2B5EF4-FFF2-40B4-BE49-F238E27FC236}">
                <a16:creationId xmlns:a16="http://schemas.microsoft.com/office/drawing/2014/main" id="{074B4F7D-14B2-478B-8BF5-01E4E0C5D2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75895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0F84CA-9382-6BF7-9F96-05C46DC369D0}"/>
              </a:ext>
            </a:extLst>
          </p:cNvPr>
          <p:cNvSpPr txBox="1"/>
          <p:nvPr/>
        </p:nvSpPr>
        <p:spPr>
          <a:xfrm>
            <a:off x="1115568" y="3912123"/>
            <a:ext cx="10168128" cy="226483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marR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</a:rPr>
              <a:t>Anugrah Shaw</a:t>
            </a:r>
            <a:r>
              <a:rPr lang="en-US" sz="2000" baseline="30000" dirty="0">
                <a:effectLst/>
              </a:rPr>
              <a:t>1*</a:t>
            </a:r>
            <a:r>
              <a:rPr lang="en-US" sz="2000" dirty="0">
                <a:effectLst/>
              </a:rPr>
              <a:t>, Thavy Staal</a:t>
            </a:r>
            <a:r>
              <a:rPr lang="en-US" sz="2100" baseline="30000" dirty="0"/>
              <a:t>2</a:t>
            </a:r>
            <a:r>
              <a:rPr lang="en-US" sz="2000" dirty="0">
                <a:effectLst/>
              </a:rPr>
              <a:t>, Marcelo Macedo</a:t>
            </a:r>
            <a:r>
              <a:rPr lang="en-US" sz="2100" baseline="30000" dirty="0"/>
              <a:t>3</a:t>
            </a:r>
            <a:r>
              <a:rPr lang="en-US" sz="2000" dirty="0">
                <a:effectLst/>
              </a:rPr>
              <a:t> Hamilton Ramos</a:t>
            </a:r>
            <a:r>
              <a:rPr lang="en-US" sz="2100" baseline="30000" dirty="0"/>
              <a:t>4</a:t>
            </a:r>
            <a:r>
              <a:rPr lang="en-US" sz="2000" dirty="0">
                <a:effectLst/>
              </a:rPr>
              <a:t>, Sonja Sterman</a:t>
            </a:r>
            <a:r>
              <a:rPr lang="en-US" sz="2100" baseline="30000" dirty="0"/>
              <a:t>5</a:t>
            </a:r>
          </a:p>
          <a:p>
            <a:pPr marR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</a:rPr>
              <a:t>1 University of Maryland Eastern Shore, Princess Anne, MD 21853, USA</a:t>
            </a:r>
          </a:p>
          <a:p>
            <a:pPr marR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</a:rPr>
              <a:t>2 BASF, Limburgerhof, Germany</a:t>
            </a:r>
          </a:p>
          <a:p>
            <a:pPr marR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</a:rPr>
              <a:t>3 AZR, Pinhal, Brazil</a:t>
            </a:r>
          </a:p>
          <a:p>
            <a:pPr marR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</a:rPr>
              <a:t>4 Instituto Agronomico, Jundiaí, Brazil</a:t>
            </a:r>
          </a:p>
          <a:p>
            <a:pPr marR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</a:rPr>
              <a:t>5 University of Maribor, Faculty of Mechanical Engineering, Maribor, Slovenia</a:t>
            </a:r>
          </a:p>
          <a:p>
            <a:pPr marR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000" dirty="0">
                <a:effectLst/>
              </a:rPr>
              <a:t>* ashaw@umes</a:t>
            </a:r>
            <a:r>
              <a:rPr lang="en-US" sz="2000" dirty="0"/>
              <a:t>.edu</a:t>
            </a:r>
            <a:endParaRPr lang="en-US" sz="20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6997299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FF47CB7-972F-479F-A36D-9E72D26EC8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153B68-5844-490D-8E67-F616D6D7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1766176" cy="2061837"/>
          </a:xfrm>
          <a:custGeom>
            <a:avLst/>
            <a:gdLst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13657 w 10768629"/>
              <a:gd name="connsiteY144" fmla="*/ 1730706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84330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0768629" h="1978172">
                <a:moveTo>
                  <a:pt x="0" y="0"/>
                </a:moveTo>
                <a:lnTo>
                  <a:pt x="10768629" y="0"/>
                </a:lnTo>
                <a:lnTo>
                  <a:pt x="10733254" y="31439"/>
                </a:lnTo>
                <a:lnTo>
                  <a:pt x="10727085" y="37910"/>
                </a:lnTo>
                <a:cubicBezTo>
                  <a:pt x="10712973" y="56080"/>
                  <a:pt x="10699457" y="78430"/>
                  <a:pt x="10675953" y="68623"/>
                </a:cubicBezTo>
                <a:cubicBezTo>
                  <a:pt x="10685972" y="89202"/>
                  <a:pt x="10641629" y="69781"/>
                  <a:pt x="10637091" y="90361"/>
                </a:cubicBezTo>
                <a:cubicBezTo>
                  <a:pt x="10635214" y="107005"/>
                  <a:pt x="10621323" y="104993"/>
                  <a:pt x="10610971" y="110764"/>
                </a:cubicBezTo>
                <a:cubicBezTo>
                  <a:pt x="10603980" y="127568"/>
                  <a:pt x="10551417" y="141180"/>
                  <a:pt x="10532872" y="138028"/>
                </a:cubicBezTo>
                <a:cubicBezTo>
                  <a:pt x="10480300" y="119072"/>
                  <a:pt x="10440532" y="186296"/>
                  <a:pt x="10398558" y="172911"/>
                </a:cubicBezTo>
                <a:cubicBezTo>
                  <a:pt x="10387708" y="174114"/>
                  <a:pt x="10378792" y="177646"/>
                  <a:pt x="10371128" y="182609"/>
                </a:cubicBezTo>
                <a:lnTo>
                  <a:pt x="10352178" y="199976"/>
                </a:lnTo>
                <a:lnTo>
                  <a:pt x="10351815" y="211879"/>
                </a:lnTo>
                <a:lnTo>
                  <a:pt x="10337471" y="218661"/>
                </a:lnTo>
                <a:lnTo>
                  <a:pt x="10334625" y="222351"/>
                </a:lnTo>
                <a:cubicBezTo>
                  <a:pt x="10321108" y="225227"/>
                  <a:pt x="10278615" y="228401"/>
                  <a:pt x="10256365" y="235917"/>
                </a:cubicBezTo>
                <a:cubicBezTo>
                  <a:pt x="10218136" y="258033"/>
                  <a:pt x="10224552" y="209685"/>
                  <a:pt x="10201127" y="267448"/>
                </a:cubicBezTo>
                <a:cubicBezTo>
                  <a:pt x="10121320" y="273476"/>
                  <a:pt x="10040763" y="345580"/>
                  <a:pt x="9961218" y="326720"/>
                </a:cubicBezTo>
                <a:cubicBezTo>
                  <a:pt x="9980173" y="341621"/>
                  <a:pt x="9883038" y="318484"/>
                  <a:pt x="9859715" y="355698"/>
                </a:cubicBezTo>
                <a:cubicBezTo>
                  <a:pt x="9812822" y="367758"/>
                  <a:pt x="9752089" y="383830"/>
                  <a:pt x="9679867" y="399081"/>
                </a:cubicBezTo>
                <a:cubicBezTo>
                  <a:pt x="9618357" y="415668"/>
                  <a:pt x="9525492" y="446315"/>
                  <a:pt x="9490654" y="455225"/>
                </a:cubicBezTo>
                <a:lnTo>
                  <a:pt x="9470837" y="452539"/>
                </a:lnTo>
                <a:lnTo>
                  <a:pt x="9469082" y="454891"/>
                </a:lnTo>
                <a:cubicBezTo>
                  <a:pt x="9460057" y="461184"/>
                  <a:pt x="9453495" y="461729"/>
                  <a:pt x="9448038" y="459733"/>
                </a:cubicBezTo>
                <a:lnTo>
                  <a:pt x="9396821" y="455795"/>
                </a:lnTo>
                <a:lnTo>
                  <a:pt x="9392197" y="459796"/>
                </a:lnTo>
                <a:lnTo>
                  <a:pt x="9347994" y="464462"/>
                </a:lnTo>
                <a:cubicBezTo>
                  <a:pt x="9347959" y="465155"/>
                  <a:pt x="9347925" y="465846"/>
                  <a:pt x="9347889" y="466539"/>
                </a:cubicBezTo>
                <a:cubicBezTo>
                  <a:pt x="9346648" y="471307"/>
                  <a:pt x="9343831" y="475025"/>
                  <a:pt x="9337639" y="476654"/>
                </a:cubicBezTo>
                <a:cubicBezTo>
                  <a:pt x="9354547" y="503661"/>
                  <a:pt x="9307720" y="510631"/>
                  <a:pt x="9287964" y="513052"/>
                </a:cubicBezTo>
                <a:cubicBezTo>
                  <a:pt x="9269905" y="526173"/>
                  <a:pt x="9245386" y="544358"/>
                  <a:pt x="9229283" y="555377"/>
                </a:cubicBezTo>
                <a:lnTo>
                  <a:pt x="9220274" y="557502"/>
                </a:lnTo>
                <a:cubicBezTo>
                  <a:pt x="9220250" y="557668"/>
                  <a:pt x="9220226" y="557835"/>
                  <a:pt x="9220202" y="558001"/>
                </a:cubicBezTo>
                <a:cubicBezTo>
                  <a:pt x="9218468" y="559434"/>
                  <a:pt x="9215591" y="560497"/>
                  <a:pt x="9210908" y="561147"/>
                </a:cubicBezTo>
                <a:lnTo>
                  <a:pt x="9186374" y="565502"/>
                </a:lnTo>
                <a:lnTo>
                  <a:pt x="9181058" y="569943"/>
                </a:lnTo>
                <a:lnTo>
                  <a:pt x="9167549" y="584727"/>
                </a:lnTo>
                <a:lnTo>
                  <a:pt x="9149110" y="598906"/>
                </a:lnTo>
                <a:cubicBezTo>
                  <a:pt x="9133575" y="594395"/>
                  <a:pt x="9087390" y="636567"/>
                  <a:pt x="9078556" y="644039"/>
                </a:cubicBezTo>
                <a:lnTo>
                  <a:pt x="8996399" y="690055"/>
                </a:lnTo>
                <a:cubicBezTo>
                  <a:pt x="8913147" y="777045"/>
                  <a:pt x="8867993" y="772591"/>
                  <a:pt x="8803791" y="813860"/>
                </a:cubicBezTo>
                <a:cubicBezTo>
                  <a:pt x="8745270" y="819906"/>
                  <a:pt x="8690049" y="823612"/>
                  <a:pt x="8636202" y="848463"/>
                </a:cubicBezTo>
                <a:cubicBezTo>
                  <a:pt x="8594799" y="860014"/>
                  <a:pt x="8568613" y="864779"/>
                  <a:pt x="8555372" y="883171"/>
                </a:cubicBezTo>
                <a:lnTo>
                  <a:pt x="8507229" y="901665"/>
                </a:lnTo>
                <a:lnTo>
                  <a:pt x="8428473" y="927985"/>
                </a:lnTo>
                <a:cubicBezTo>
                  <a:pt x="8428287" y="929817"/>
                  <a:pt x="8428100" y="931648"/>
                  <a:pt x="8427914" y="933480"/>
                </a:cubicBezTo>
                <a:lnTo>
                  <a:pt x="8420327" y="941984"/>
                </a:lnTo>
                <a:lnTo>
                  <a:pt x="8394729" y="948347"/>
                </a:lnTo>
                <a:lnTo>
                  <a:pt x="8380548" y="987916"/>
                </a:lnTo>
                <a:lnTo>
                  <a:pt x="8375330" y="965444"/>
                </a:lnTo>
                <a:cubicBezTo>
                  <a:pt x="8372375" y="964202"/>
                  <a:pt x="8344433" y="977378"/>
                  <a:pt x="8340796" y="980522"/>
                </a:cubicBezTo>
                <a:cubicBezTo>
                  <a:pt x="8328292" y="982128"/>
                  <a:pt x="8319237" y="991089"/>
                  <a:pt x="8304438" y="996739"/>
                </a:cubicBezTo>
                <a:cubicBezTo>
                  <a:pt x="8297193" y="1005683"/>
                  <a:pt x="8289328" y="1014568"/>
                  <a:pt x="8280929" y="1023089"/>
                </a:cubicBezTo>
                <a:lnTo>
                  <a:pt x="8275760" y="1027772"/>
                </a:lnTo>
                <a:lnTo>
                  <a:pt x="8275478" y="1027605"/>
                </a:lnTo>
                <a:cubicBezTo>
                  <a:pt x="8273970" y="1028076"/>
                  <a:pt x="8251461" y="1029408"/>
                  <a:pt x="8249003" y="1032033"/>
                </a:cubicBezTo>
                <a:lnTo>
                  <a:pt x="8203836" y="1037347"/>
                </a:lnTo>
                <a:cubicBezTo>
                  <a:pt x="8172789" y="1049890"/>
                  <a:pt x="8148166" y="1034625"/>
                  <a:pt x="8122936" y="1063113"/>
                </a:cubicBezTo>
                <a:cubicBezTo>
                  <a:pt x="8093850" y="1074757"/>
                  <a:pt x="8066781" y="1075350"/>
                  <a:pt x="8043658" y="1092746"/>
                </a:cubicBezTo>
                <a:cubicBezTo>
                  <a:pt x="8032157" y="1089174"/>
                  <a:pt x="8022145" y="1089998"/>
                  <a:pt x="8015351" y="1105478"/>
                </a:cubicBezTo>
                <a:cubicBezTo>
                  <a:pt x="7987544" y="1113006"/>
                  <a:pt x="7977708" y="1099152"/>
                  <a:pt x="7963145" y="1119346"/>
                </a:cubicBezTo>
                <a:cubicBezTo>
                  <a:pt x="7942622" y="1098880"/>
                  <a:pt x="7943760" y="1109516"/>
                  <a:pt x="7938145" y="1120225"/>
                </a:cubicBezTo>
                <a:lnTo>
                  <a:pt x="7937238" y="1121204"/>
                </a:lnTo>
                <a:lnTo>
                  <a:pt x="7934398" y="1118240"/>
                </a:lnTo>
                <a:lnTo>
                  <a:pt x="7918248" y="1124371"/>
                </a:lnTo>
                <a:lnTo>
                  <a:pt x="7914119" y="1127653"/>
                </a:lnTo>
                <a:cubicBezTo>
                  <a:pt x="7911201" y="1129547"/>
                  <a:pt x="7909169" y="1130331"/>
                  <a:pt x="7907658" y="1130350"/>
                </a:cubicBezTo>
                <a:lnTo>
                  <a:pt x="7907434" y="1130103"/>
                </a:lnTo>
                <a:lnTo>
                  <a:pt x="7901508" y="1133245"/>
                </a:lnTo>
                <a:cubicBezTo>
                  <a:pt x="7891644" y="1139271"/>
                  <a:pt x="7882185" y="1145815"/>
                  <a:pt x="7873287" y="1152609"/>
                </a:cubicBezTo>
                <a:cubicBezTo>
                  <a:pt x="7864672" y="1141906"/>
                  <a:pt x="7845199" y="1159242"/>
                  <a:pt x="7834833" y="1153868"/>
                </a:cubicBezTo>
                <a:lnTo>
                  <a:pt x="7828661" y="1139994"/>
                </a:lnTo>
                <a:lnTo>
                  <a:pt x="7823966" y="1143178"/>
                </a:lnTo>
                <a:lnTo>
                  <a:pt x="7815078" y="1151776"/>
                </a:lnTo>
                <a:cubicBezTo>
                  <a:pt x="7813692" y="1152943"/>
                  <a:pt x="7812687" y="1153116"/>
                  <a:pt x="7812026" y="1151522"/>
                </a:cubicBezTo>
                <a:cubicBezTo>
                  <a:pt x="7806555" y="1153054"/>
                  <a:pt x="7788673" y="1159989"/>
                  <a:pt x="7782249" y="1160970"/>
                </a:cubicBezTo>
                <a:lnTo>
                  <a:pt x="7773476" y="1157414"/>
                </a:lnTo>
                <a:lnTo>
                  <a:pt x="7769600" y="1157365"/>
                </a:lnTo>
                <a:lnTo>
                  <a:pt x="7752631" y="1172815"/>
                </a:lnTo>
                <a:lnTo>
                  <a:pt x="7739392" y="1192062"/>
                </a:lnTo>
                <a:lnTo>
                  <a:pt x="7677677" y="1216394"/>
                </a:lnTo>
                <a:lnTo>
                  <a:pt x="7586920" y="1261888"/>
                </a:lnTo>
                <a:cubicBezTo>
                  <a:pt x="7556723" y="1298911"/>
                  <a:pt x="7489187" y="1284518"/>
                  <a:pt x="7486100" y="1292563"/>
                </a:cubicBezTo>
                <a:cubicBezTo>
                  <a:pt x="7454875" y="1308356"/>
                  <a:pt x="7453335" y="1326361"/>
                  <a:pt x="7411323" y="1340732"/>
                </a:cubicBezTo>
                <a:cubicBezTo>
                  <a:pt x="7372519" y="1390006"/>
                  <a:pt x="7288617" y="1403664"/>
                  <a:pt x="7240698" y="1438832"/>
                </a:cubicBezTo>
                <a:cubicBezTo>
                  <a:pt x="7206467" y="1417136"/>
                  <a:pt x="7227555" y="1441678"/>
                  <a:pt x="7197675" y="1447530"/>
                </a:cubicBezTo>
                <a:cubicBezTo>
                  <a:pt x="7211601" y="1474927"/>
                  <a:pt x="7159483" y="1444981"/>
                  <a:pt x="7164788" y="1480293"/>
                </a:cubicBezTo>
                <a:cubicBezTo>
                  <a:pt x="7159184" y="1480240"/>
                  <a:pt x="7153584" y="1479075"/>
                  <a:pt x="7147929" y="1477641"/>
                </a:cubicBezTo>
                <a:lnTo>
                  <a:pt x="7144965" y="1476908"/>
                </a:lnTo>
                <a:lnTo>
                  <a:pt x="7134299" y="1479969"/>
                </a:lnTo>
                <a:lnTo>
                  <a:pt x="7129809" y="1473339"/>
                </a:lnTo>
                <a:lnTo>
                  <a:pt x="7112688" y="1472575"/>
                </a:lnTo>
                <a:cubicBezTo>
                  <a:pt x="7106506" y="1473449"/>
                  <a:pt x="7100123" y="1475741"/>
                  <a:pt x="7093470" y="1480300"/>
                </a:cubicBezTo>
                <a:cubicBezTo>
                  <a:pt x="7079039" y="1501274"/>
                  <a:pt x="7048991" y="1495718"/>
                  <a:pt x="7025034" y="1506934"/>
                </a:cubicBezTo>
                <a:lnTo>
                  <a:pt x="7014783" y="1515868"/>
                </a:lnTo>
                <a:lnTo>
                  <a:pt x="6979706" y="1523511"/>
                </a:lnTo>
                <a:lnTo>
                  <a:pt x="6977890" y="1525793"/>
                </a:lnTo>
                <a:cubicBezTo>
                  <a:pt x="6971996" y="1527914"/>
                  <a:pt x="6959488" y="1529941"/>
                  <a:pt x="6944339" y="1536237"/>
                </a:cubicBezTo>
                <a:lnTo>
                  <a:pt x="6886996" y="1563569"/>
                </a:lnTo>
                <a:lnTo>
                  <a:pt x="6874510" y="1558469"/>
                </a:lnTo>
                <a:lnTo>
                  <a:pt x="6871943" y="1554651"/>
                </a:lnTo>
                <a:lnTo>
                  <a:pt x="6856174" y="1562024"/>
                </a:lnTo>
                <a:lnTo>
                  <a:pt x="6842321" y="1560554"/>
                </a:lnTo>
                <a:lnTo>
                  <a:pt x="6832713" y="1569357"/>
                </a:lnTo>
                <a:lnTo>
                  <a:pt x="6816351" y="1571495"/>
                </a:lnTo>
                <a:cubicBezTo>
                  <a:pt x="6810216" y="1571510"/>
                  <a:pt x="6803310" y="1571324"/>
                  <a:pt x="6795800" y="1572010"/>
                </a:cubicBezTo>
                <a:lnTo>
                  <a:pt x="6777546" y="1568661"/>
                </a:lnTo>
                <a:lnTo>
                  <a:pt x="6751528" y="1574143"/>
                </a:lnTo>
                <a:cubicBezTo>
                  <a:pt x="6731455" y="1578562"/>
                  <a:pt x="6712054" y="1582098"/>
                  <a:pt x="6691966" y="1582255"/>
                </a:cubicBezTo>
                <a:cubicBezTo>
                  <a:pt x="6677921" y="1590738"/>
                  <a:pt x="6663787" y="1595441"/>
                  <a:pt x="6646941" y="1588471"/>
                </a:cubicBezTo>
                <a:cubicBezTo>
                  <a:pt x="6605135" y="1597971"/>
                  <a:pt x="6598373" y="1612583"/>
                  <a:pt x="6568576" y="1606488"/>
                </a:cubicBezTo>
                <a:cubicBezTo>
                  <a:pt x="6562510" y="1614734"/>
                  <a:pt x="6558067" y="1619360"/>
                  <a:pt x="6554358" y="1621701"/>
                </a:cubicBezTo>
                <a:cubicBezTo>
                  <a:pt x="6543227" y="1628727"/>
                  <a:pt x="6538724" y="1615196"/>
                  <a:pt x="6516968" y="1617195"/>
                </a:cubicBezTo>
                <a:cubicBezTo>
                  <a:pt x="6493173" y="1617368"/>
                  <a:pt x="6528193" y="1598652"/>
                  <a:pt x="6506479" y="1602227"/>
                </a:cubicBezTo>
                <a:cubicBezTo>
                  <a:pt x="6486674" y="1613929"/>
                  <a:pt x="6478484" y="1593997"/>
                  <a:pt x="6458436" y="1607332"/>
                </a:cubicBezTo>
                <a:cubicBezTo>
                  <a:pt x="6471168" y="1620800"/>
                  <a:pt x="6410323" y="1615478"/>
                  <a:pt x="6414786" y="1628815"/>
                </a:cubicBezTo>
                <a:cubicBezTo>
                  <a:pt x="6385942" y="1615041"/>
                  <a:pt x="6386569" y="1640238"/>
                  <a:pt x="6357085" y="1640846"/>
                </a:cubicBezTo>
                <a:cubicBezTo>
                  <a:pt x="6341163" y="1636809"/>
                  <a:pt x="6331497" y="1637754"/>
                  <a:pt x="6322636" y="1648213"/>
                </a:cubicBezTo>
                <a:cubicBezTo>
                  <a:pt x="6248448" y="1627802"/>
                  <a:pt x="6286748" y="1654976"/>
                  <a:pt x="6226172" y="1654676"/>
                </a:cubicBezTo>
                <a:lnTo>
                  <a:pt x="6221217" y="1654506"/>
                </a:lnTo>
                <a:lnTo>
                  <a:pt x="6204956" y="1664280"/>
                </a:lnTo>
                <a:cubicBezTo>
                  <a:pt x="6204728" y="1665114"/>
                  <a:pt x="6204498" y="1665947"/>
                  <a:pt x="6204270" y="1666782"/>
                </a:cubicBezTo>
                <a:lnTo>
                  <a:pt x="6143810" y="1661963"/>
                </a:lnTo>
                <a:lnTo>
                  <a:pt x="6136560" y="1665728"/>
                </a:lnTo>
                <a:lnTo>
                  <a:pt x="6096155" y="1656951"/>
                </a:lnTo>
                <a:lnTo>
                  <a:pt x="6075812" y="1655422"/>
                </a:lnTo>
                <a:lnTo>
                  <a:pt x="6039495" y="1649680"/>
                </a:lnTo>
                <a:lnTo>
                  <a:pt x="6036523" y="1652121"/>
                </a:lnTo>
                <a:lnTo>
                  <a:pt x="6029328" y="1649904"/>
                </a:lnTo>
                <a:lnTo>
                  <a:pt x="6024075" y="1652779"/>
                </a:lnTo>
                <a:lnTo>
                  <a:pt x="6018085" y="1652030"/>
                </a:lnTo>
                <a:cubicBezTo>
                  <a:pt x="6006658" y="1653831"/>
                  <a:pt x="5968194" y="1662035"/>
                  <a:pt x="5955513" y="1663584"/>
                </a:cubicBezTo>
                <a:lnTo>
                  <a:pt x="5941996" y="1661326"/>
                </a:lnTo>
                <a:lnTo>
                  <a:pt x="5931789" y="1669915"/>
                </a:lnTo>
                <a:lnTo>
                  <a:pt x="5888686" y="1672175"/>
                </a:lnTo>
                <a:lnTo>
                  <a:pt x="5873794" y="1665454"/>
                </a:lnTo>
                <a:lnTo>
                  <a:pt x="5860022" y="1660635"/>
                </a:lnTo>
                <a:lnTo>
                  <a:pt x="5858237" y="1660649"/>
                </a:lnTo>
                <a:lnTo>
                  <a:pt x="5840319" y="1660798"/>
                </a:lnTo>
                <a:lnTo>
                  <a:pt x="5806984" y="1661075"/>
                </a:lnTo>
                <a:cubicBezTo>
                  <a:pt x="5785708" y="1661533"/>
                  <a:pt x="5764126" y="1662974"/>
                  <a:pt x="5742351" y="1667489"/>
                </a:cubicBezTo>
                <a:cubicBezTo>
                  <a:pt x="5659069" y="1645168"/>
                  <a:pt x="5615134" y="1706361"/>
                  <a:pt x="5521171" y="1671626"/>
                </a:cubicBezTo>
                <a:cubicBezTo>
                  <a:pt x="5491803" y="1671296"/>
                  <a:pt x="5498089" y="1662666"/>
                  <a:pt x="5457384" y="1683952"/>
                </a:cubicBezTo>
                <a:cubicBezTo>
                  <a:pt x="5356959" y="1699287"/>
                  <a:pt x="5078905" y="1774579"/>
                  <a:pt x="4950070" y="1748401"/>
                </a:cubicBezTo>
                <a:cubicBezTo>
                  <a:pt x="4918276" y="1752255"/>
                  <a:pt x="4891043" y="1756936"/>
                  <a:pt x="4872172" y="1757222"/>
                </a:cubicBezTo>
                <a:lnTo>
                  <a:pt x="4809524" y="1761033"/>
                </a:lnTo>
                <a:cubicBezTo>
                  <a:pt x="4791324" y="1772975"/>
                  <a:pt x="4777258" y="1754591"/>
                  <a:pt x="4759058" y="1766533"/>
                </a:cubicBezTo>
                <a:cubicBezTo>
                  <a:pt x="4747481" y="1770744"/>
                  <a:pt x="4734604" y="1772921"/>
                  <a:pt x="4719749" y="1771811"/>
                </a:cubicBezTo>
                <a:cubicBezTo>
                  <a:pt x="4671168" y="1780243"/>
                  <a:pt x="4634134" y="1775931"/>
                  <a:pt x="4568686" y="1786141"/>
                </a:cubicBezTo>
                <a:cubicBezTo>
                  <a:pt x="4544667" y="1777910"/>
                  <a:pt x="4432547" y="1778168"/>
                  <a:pt x="4418751" y="1796932"/>
                </a:cubicBezTo>
                <a:cubicBezTo>
                  <a:pt x="4403360" y="1801488"/>
                  <a:pt x="4385278" y="1795746"/>
                  <a:pt x="4378377" y="1815528"/>
                </a:cubicBezTo>
                <a:cubicBezTo>
                  <a:pt x="4366870" y="1839461"/>
                  <a:pt x="4337372" y="1814003"/>
                  <a:pt x="4320575" y="1832722"/>
                </a:cubicBezTo>
                <a:cubicBezTo>
                  <a:pt x="4277898" y="1857053"/>
                  <a:pt x="4243945" y="1846759"/>
                  <a:pt x="4211935" y="1860177"/>
                </a:cubicBezTo>
                <a:cubicBezTo>
                  <a:pt x="4181519" y="1859584"/>
                  <a:pt x="4171342" y="1859762"/>
                  <a:pt x="4101228" y="1868717"/>
                </a:cubicBezTo>
                <a:cubicBezTo>
                  <a:pt x="4080159" y="1876188"/>
                  <a:pt x="4039427" y="1877381"/>
                  <a:pt x="3973223" y="1881015"/>
                </a:cubicBezTo>
                <a:cubicBezTo>
                  <a:pt x="3971330" y="1884974"/>
                  <a:pt x="3952843" y="1879225"/>
                  <a:pt x="3900992" y="1880603"/>
                </a:cubicBezTo>
                <a:cubicBezTo>
                  <a:pt x="3849141" y="1881981"/>
                  <a:pt x="3740060" y="1895686"/>
                  <a:pt x="3662119" y="1889285"/>
                </a:cubicBezTo>
                <a:cubicBezTo>
                  <a:pt x="3565155" y="1881322"/>
                  <a:pt x="3613412" y="1915150"/>
                  <a:pt x="3496919" y="1873180"/>
                </a:cubicBezTo>
                <a:cubicBezTo>
                  <a:pt x="3488062" y="1895719"/>
                  <a:pt x="3474293" y="1876288"/>
                  <a:pt x="3449433" y="1889681"/>
                </a:cubicBezTo>
                <a:cubicBezTo>
                  <a:pt x="3406553" y="1891629"/>
                  <a:pt x="3413217" y="1897797"/>
                  <a:pt x="3369766" y="1916653"/>
                </a:cubicBezTo>
                <a:cubicBezTo>
                  <a:pt x="3338805" y="1929531"/>
                  <a:pt x="3289487" y="1928617"/>
                  <a:pt x="3269672" y="1938036"/>
                </a:cubicBezTo>
                <a:lnTo>
                  <a:pt x="3224897" y="1943733"/>
                </a:lnTo>
                <a:cubicBezTo>
                  <a:pt x="3188693" y="1949271"/>
                  <a:pt x="3178540" y="1909145"/>
                  <a:pt x="3161463" y="1946591"/>
                </a:cubicBezTo>
                <a:lnTo>
                  <a:pt x="3112044" y="1935614"/>
                </a:lnTo>
                <a:lnTo>
                  <a:pt x="3069716" y="1930463"/>
                </a:lnTo>
                <a:cubicBezTo>
                  <a:pt x="3049937" y="1924285"/>
                  <a:pt x="3047816" y="1925644"/>
                  <a:pt x="3005773" y="1915878"/>
                </a:cubicBezTo>
                <a:cubicBezTo>
                  <a:pt x="2978838" y="1921092"/>
                  <a:pt x="2967972" y="1927319"/>
                  <a:pt x="2897201" y="1926772"/>
                </a:cubicBezTo>
                <a:lnTo>
                  <a:pt x="2783891" y="1931749"/>
                </a:lnTo>
                <a:cubicBezTo>
                  <a:pt x="2753098" y="1932794"/>
                  <a:pt x="2731621" y="1915151"/>
                  <a:pt x="2712447" y="1933044"/>
                </a:cubicBezTo>
                <a:cubicBezTo>
                  <a:pt x="2621923" y="1990472"/>
                  <a:pt x="2637976" y="1949546"/>
                  <a:pt x="2560151" y="1963609"/>
                </a:cubicBezTo>
                <a:cubicBezTo>
                  <a:pt x="2472084" y="1973456"/>
                  <a:pt x="2423631" y="1962133"/>
                  <a:pt x="2367221" y="1971884"/>
                </a:cubicBezTo>
                <a:cubicBezTo>
                  <a:pt x="2355331" y="1950582"/>
                  <a:pt x="2295649" y="1950006"/>
                  <a:pt x="2272130" y="1961162"/>
                </a:cubicBezTo>
                <a:cubicBezTo>
                  <a:pt x="2229336" y="1964326"/>
                  <a:pt x="2232627" y="1943953"/>
                  <a:pt x="2189404" y="1978172"/>
                </a:cubicBezTo>
                <a:cubicBezTo>
                  <a:pt x="2153824" y="1968017"/>
                  <a:pt x="2114605" y="1969166"/>
                  <a:pt x="2077704" y="1965002"/>
                </a:cubicBezTo>
                <a:cubicBezTo>
                  <a:pt x="2053064" y="1962036"/>
                  <a:pt x="2051584" y="1971011"/>
                  <a:pt x="2033299" y="1969042"/>
                </a:cubicBezTo>
                <a:cubicBezTo>
                  <a:pt x="2015014" y="1967073"/>
                  <a:pt x="1998956" y="1958903"/>
                  <a:pt x="1967996" y="1953187"/>
                </a:cubicBezTo>
                <a:cubicBezTo>
                  <a:pt x="1924117" y="1970917"/>
                  <a:pt x="1915668" y="1940297"/>
                  <a:pt x="1855805" y="1926082"/>
                </a:cubicBezTo>
                <a:cubicBezTo>
                  <a:pt x="1830663" y="1943732"/>
                  <a:pt x="1810564" y="1935694"/>
                  <a:pt x="1790957" y="1919460"/>
                </a:cubicBezTo>
                <a:cubicBezTo>
                  <a:pt x="1732588" y="1924884"/>
                  <a:pt x="1679506" y="1900619"/>
                  <a:pt x="1613978" y="1891581"/>
                </a:cubicBezTo>
                <a:cubicBezTo>
                  <a:pt x="1542961" y="1912227"/>
                  <a:pt x="1506863" y="1865666"/>
                  <a:pt x="1436831" y="1856201"/>
                </a:cubicBezTo>
                <a:cubicBezTo>
                  <a:pt x="1409149" y="1862955"/>
                  <a:pt x="1416370" y="1829853"/>
                  <a:pt x="1357365" y="1832140"/>
                </a:cubicBezTo>
                <a:cubicBezTo>
                  <a:pt x="1285880" y="1811785"/>
                  <a:pt x="1273193" y="1786872"/>
                  <a:pt x="1232341" y="1785942"/>
                </a:cubicBezTo>
                <a:cubicBezTo>
                  <a:pt x="1223903" y="1792798"/>
                  <a:pt x="1160576" y="1793911"/>
                  <a:pt x="1162595" y="1784330"/>
                </a:cubicBezTo>
                <a:cubicBezTo>
                  <a:pt x="1153167" y="1787110"/>
                  <a:pt x="1122206" y="1805077"/>
                  <a:pt x="1120257" y="1789615"/>
                </a:cubicBezTo>
                <a:cubicBezTo>
                  <a:pt x="1073149" y="1786750"/>
                  <a:pt x="1034361" y="1768718"/>
                  <a:pt x="991903" y="1786741"/>
                </a:cubicBezTo>
                <a:cubicBezTo>
                  <a:pt x="966383" y="1781126"/>
                  <a:pt x="949501" y="1800915"/>
                  <a:pt x="883960" y="1809389"/>
                </a:cubicBezTo>
                <a:cubicBezTo>
                  <a:pt x="836064" y="1808194"/>
                  <a:pt x="826980" y="1826610"/>
                  <a:pt x="766531" y="1805053"/>
                </a:cubicBezTo>
                <a:cubicBezTo>
                  <a:pt x="732778" y="1801141"/>
                  <a:pt x="694055" y="1787044"/>
                  <a:pt x="669779" y="1800537"/>
                </a:cubicBezTo>
                <a:cubicBezTo>
                  <a:pt x="645252" y="1794709"/>
                  <a:pt x="563495" y="1813232"/>
                  <a:pt x="523898" y="1811085"/>
                </a:cubicBezTo>
                <a:cubicBezTo>
                  <a:pt x="457555" y="1798530"/>
                  <a:pt x="395227" y="1824052"/>
                  <a:pt x="360251" y="1830735"/>
                </a:cubicBezTo>
                <a:cubicBezTo>
                  <a:pt x="313564" y="1825583"/>
                  <a:pt x="298281" y="1811622"/>
                  <a:pt x="255207" y="1818275"/>
                </a:cubicBezTo>
                <a:cubicBezTo>
                  <a:pt x="206572" y="1839769"/>
                  <a:pt x="160277" y="1836800"/>
                  <a:pt x="101803" y="1870647"/>
                </a:cubicBezTo>
                <a:cubicBezTo>
                  <a:pt x="85849" y="1910002"/>
                  <a:pt x="27997" y="1845258"/>
                  <a:pt x="25397" y="1888443"/>
                </a:cubicBezTo>
                <a:cubicBezTo>
                  <a:pt x="19096" y="1881154"/>
                  <a:pt x="11260" y="1878398"/>
                  <a:pt x="2370" y="1878311"/>
                </a:cubicBezTo>
                <a:lnTo>
                  <a:pt x="0" y="1878785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0D773F-7A7D-4DBB-9DEA-86BB8B8F4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381624" y="6209414"/>
            <a:ext cx="6810375" cy="648586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7B14C7-547B-B895-69C1-B8D35E284A6D}"/>
              </a:ext>
            </a:extLst>
          </p:cNvPr>
          <p:cNvSpPr txBox="1"/>
          <p:nvPr/>
        </p:nvSpPr>
        <p:spPr>
          <a:xfrm>
            <a:off x="240443" y="570529"/>
            <a:ext cx="716582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8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Step 2: Focus Group Meeting</a:t>
            </a:r>
            <a:endParaRPr lang="en-US" sz="2800" dirty="0"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13CB4C-6F01-75BC-80B4-94CD7AE68AAB}"/>
              </a:ext>
            </a:extLst>
          </p:cNvPr>
          <p:cNvSpPr txBox="1"/>
          <p:nvPr/>
        </p:nvSpPr>
        <p:spPr>
          <a:xfrm>
            <a:off x="240442" y="1526905"/>
            <a:ext cx="11176857" cy="44818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93C34E-D118-1F6E-2EB2-85F6A3258027}"/>
              </a:ext>
            </a:extLst>
          </p:cNvPr>
          <p:cNvSpPr txBox="1"/>
          <p:nvPr/>
        </p:nvSpPr>
        <p:spPr>
          <a:xfrm>
            <a:off x="240442" y="2249739"/>
            <a:ext cx="8047215" cy="44535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2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verview provided by Group Leader</a:t>
            </a:r>
          </a:p>
          <a:p>
            <a:pPr lvl="2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2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sent form reviewed and signed by participant</a:t>
            </a:r>
          </a:p>
          <a:p>
            <a:pPr lvl="2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2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estionnaire completed by individual farmers/applicators</a:t>
            </a:r>
          </a:p>
          <a:p>
            <a:pPr lvl="3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rt A: Demographic and other information </a:t>
            </a:r>
          </a:p>
          <a:p>
            <a:pPr lvl="3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rt B: User preference </a:t>
            </a:r>
          </a:p>
          <a:p>
            <a:pPr lvl="2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2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roup discussion to “design”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garment. </a:t>
            </a:r>
          </a:p>
          <a:p>
            <a:pPr lvl="3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pletion of cost sheet and finalize garment details  </a:t>
            </a:r>
          </a:p>
        </p:txBody>
      </p:sp>
      <p:pic>
        <p:nvPicPr>
          <p:cNvPr id="11" name="Graphic 10" descr="Teacher outline">
            <a:extLst>
              <a:ext uri="{FF2B5EF4-FFF2-40B4-BE49-F238E27FC236}">
                <a16:creationId xmlns:a16="http://schemas.microsoft.com/office/drawing/2014/main" id="{B9F8C136-6FCA-C10F-2A83-2BE7CDE004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8485" y="2159616"/>
            <a:ext cx="649415" cy="649415"/>
          </a:xfrm>
          <a:prstGeom prst="rect">
            <a:avLst/>
          </a:prstGeom>
        </p:spPr>
      </p:pic>
      <p:pic>
        <p:nvPicPr>
          <p:cNvPr id="18" name="Graphic 17" descr="Clipboard outline">
            <a:extLst>
              <a:ext uri="{FF2B5EF4-FFF2-40B4-BE49-F238E27FC236}">
                <a16:creationId xmlns:a16="http://schemas.microsoft.com/office/drawing/2014/main" id="{5D88F57A-2C32-BA2F-A3BD-B73E406A81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5992" y="4220283"/>
            <a:ext cx="914400" cy="914400"/>
          </a:xfrm>
          <a:prstGeom prst="rect">
            <a:avLst/>
          </a:prstGeom>
        </p:spPr>
      </p:pic>
      <p:pic>
        <p:nvPicPr>
          <p:cNvPr id="24" name="Graphic 23" descr="Customer review outline">
            <a:extLst>
              <a:ext uri="{FF2B5EF4-FFF2-40B4-BE49-F238E27FC236}">
                <a16:creationId xmlns:a16="http://schemas.microsoft.com/office/drawing/2014/main" id="{EABB8F3A-F6D5-6BE5-08DC-738D3DC01C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992" y="5863152"/>
            <a:ext cx="914400" cy="914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4EA2D30-4DDE-861F-AD03-B2EFCA9471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66848" y="1485632"/>
            <a:ext cx="4376106" cy="4691850"/>
          </a:xfrm>
          <a:prstGeom prst="rect">
            <a:avLst/>
          </a:prstGeom>
        </p:spPr>
      </p:pic>
      <p:pic>
        <p:nvPicPr>
          <p:cNvPr id="22" name="Graphic 21" descr="Calligraphy Pen outline">
            <a:extLst>
              <a:ext uri="{FF2B5EF4-FFF2-40B4-BE49-F238E27FC236}">
                <a16:creationId xmlns:a16="http://schemas.microsoft.com/office/drawing/2014/main" id="{56A9D114-0A08-411E-47DA-A9D77D74C2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7469" y="3189949"/>
            <a:ext cx="649416" cy="64941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8255137-44D0-1DAE-BB50-F1A670E364D2}"/>
              </a:ext>
            </a:extLst>
          </p:cNvPr>
          <p:cNvSpPr txBox="1"/>
          <p:nvPr/>
        </p:nvSpPr>
        <p:spPr>
          <a:xfrm>
            <a:off x="9267585" y="1157573"/>
            <a:ext cx="15455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estionnai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1463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F469D39-E1B9-0B68-4B83-CFDBAE99ACF1}"/>
              </a:ext>
            </a:extLst>
          </p:cNvPr>
          <p:cNvSpPr txBox="1"/>
          <p:nvPr/>
        </p:nvSpPr>
        <p:spPr>
          <a:xfrm>
            <a:off x="1" y="0"/>
            <a:ext cx="12192000" cy="558175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51B5D40-E2E3-C229-3734-C173F21E96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2000"/>
                    </a14:imgEffect>
                    <a14:imgEffect>
                      <a14:brightnessContrast bright="14000"/>
                    </a14:imgEffect>
                  </a14:imgLayer>
                </a14:imgProps>
              </a:ext>
            </a:extLst>
          </a:blip>
          <a:srcRect l="6208" t="9374" r="15848" b="29184"/>
          <a:stretch/>
        </p:blipFill>
        <p:spPr>
          <a:xfrm>
            <a:off x="157843" y="614387"/>
            <a:ext cx="11956107" cy="547117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3828AF-2B10-1ADF-F275-23D5A0C4A4DB}"/>
              </a:ext>
            </a:extLst>
          </p:cNvPr>
          <p:cNvSpPr txBox="1"/>
          <p:nvPr/>
        </p:nvSpPr>
        <p:spPr>
          <a:xfrm>
            <a:off x="94342" y="50344"/>
            <a:ext cx="7952486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kumimoji="0" lang="en-US" sz="2800" b="1" i="0" u="none" strike="noStrike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roup  Discussion – An Example of BASF meeting</a:t>
            </a:r>
            <a:endParaRPr lang="en-US" sz="28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FCC2CF-3AA8-5EDE-6BF0-1F87FE24F4C0}"/>
              </a:ext>
            </a:extLst>
          </p:cNvPr>
          <p:cNvSpPr txBox="1"/>
          <p:nvPr/>
        </p:nvSpPr>
        <p:spPr>
          <a:xfrm>
            <a:off x="30841" y="6285209"/>
            <a:ext cx="1219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ocus Group Meeting with coffee farmers in Karatin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Kenya                                Group Leader: Wilfred Zu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8069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A86957B-F33E-4B0C-502D-CE8DA95BD497}"/>
              </a:ext>
            </a:extLst>
          </p:cNvPr>
          <p:cNvSpPr txBox="1"/>
          <p:nvPr/>
        </p:nvSpPr>
        <p:spPr>
          <a:xfrm>
            <a:off x="1" y="0"/>
            <a:ext cx="12192000" cy="558175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A1740F94-CD35-BEA4-BD2F-36F5901561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5968" y="558174"/>
            <a:ext cx="8994962" cy="618949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: Diagonal Corners Rounded 2">
            <a:extLst>
              <a:ext uri="{FF2B5EF4-FFF2-40B4-BE49-F238E27FC236}">
                <a16:creationId xmlns:a16="http://schemas.microsoft.com/office/drawing/2014/main" id="{01591ACB-EF07-8274-BD24-6B694ECFDC20}"/>
              </a:ext>
            </a:extLst>
          </p:cNvPr>
          <p:cNvSpPr/>
          <p:nvPr/>
        </p:nvSpPr>
        <p:spPr bwMode="auto">
          <a:xfrm>
            <a:off x="504213" y="1632714"/>
            <a:ext cx="2309586" cy="2634449"/>
          </a:xfrm>
          <a:prstGeom prst="round2DiagRect">
            <a:avLst/>
          </a:prstGeom>
          <a:solidFill>
            <a:schemeClr val="accent4">
              <a:lumMod val="40000"/>
              <a:lumOff val="60000"/>
            </a:schemeClr>
          </a:solidFill>
          <a:ln w="6350" cap="flat" cmpd="sng" algn="ctr">
            <a:solidFill>
              <a:schemeClr val="folHlink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cation: Githunguri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totype: Coverall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st: Ksh. 2341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ocket: Pant pocket:  Flap with velcro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olor: Grey</a:t>
            </a:r>
          </a:p>
        </p:txBody>
      </p:sp>
      <p:sp>
        <p:nvSpPr>
          <p:cNvPr id="4" name="TextBox 3">
            <a:hlinkClick r:id="rId3" tooltip="Githunguri_Kenya PPE_Cost_GroupSurvey_Individividual.xlsx"/>
            <a:extLst>
              <a:ext uri="{FF2B5EF4-FFF2-40B4-BE49-F238E27FC236}">
                <a16:creationId xmlns:a16="http://schemas.microsoft.com/office/drawing/2014/main" id="{6637D30F-FAEC-6A72-FD37-7D79B3E5AFD4}"/>
              </a:ext>
            </a:extLst>
          </p:cNvPr>
          <p:cNvSpPr txBox="1"/>
          <p:nvPr/>
        </p:nvSpPr>
        <p:spPr>
          <a:xfrm>
            <a:off x="10386874" y="4616388"/>
            <a:ext cx="1145219" cy="612560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B6DFD3-9AF9-7E1E-2779-49B186404E50}"/>
              </a:ext>
            </a:extLst>
          </p:cNvPr>
          <p:cNvSpPr txBox="1"/>
          <p:nvPr/>
        </p:nvSpPr>
        <p:spPr>
          <a:xfrm>
            <a:off x="157842" y="0"/>
            <a:ext cx="9323135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kumimoji="0" lang="en-US" sz="2800" b="1" i="0" u="none" strike="noStrike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Group  Discussion – An Example of Syngenta meeting</a:t>
            </a:r>
            <a:endParaRPr lang="en-US" sz="28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3EBBBC-3D83-F747-9505-3FB3E74611A2}"/>
              </a:ext>
            </a:extLst>
          </p:cNvPr>
          <p:cNvSpPr txBox="1"/>
          <p:nvPr/>
        </p:nvSpPr>
        <p:spPr>
          <a:xfrm>
            <a:off x="76831" y="5824340"/>
            <a:ext cx="629194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Provided by:</a:t>
            </a:r>
          </a:p>
          <a:p>
            <a:r>
              <a:rPr lang="en-US" dirty="0"/>
              <a:t>Jenninah Mbogoh</a:t>
            </a:r>
          </a:p>
          <a:p>
            <a:r>
              <a:rPr lang="en-US" dirty="0"/>
              <a:t>Syngenta, Kenya</a:t>
            </a:r>
          </a:p>
        </p:txBody>
      </p:sp>
    </p:spTree>
    <p:extLst>
      <p:ext uri="{BB962C8B-B14F-4D97-AF65-F5344CB8AC3E}">
        <p14:creationId xmlns:p14="http://schemas.microsoft.com/office/powerpoint/2010/main" val="28039737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FF47CB7-972F-479F-A36D-9E72D26EC8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153B68-5844-490D-8E67-F616D6D7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1766176" cy="2061837"/>
          </a:xfrm>
          <a:custGeom>
            <a:avLst/>
            <a:gdLst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13657 w 10768629"/>
              <a:gd name="connsiteY144" fmla="*/ 1730706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84330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0768629" h="1978172">
                <a:moveTo>
                  <a:pt x="0" y="0"/>
                </a:moveTo>
                <a:lnTo>
                  <a:pt x="10768629" y="0"/>
                </a:lnTo>
                <a:lnTo>
                  <a:pt x="10733254" y="31439"/>
                </a:lnTo>
                <a:lnTo>
                  <a:pt x="10727085" y="37910"/>
                </a:lnTo>
                <a:cubicBezTo>
                  <a:pt x="10712973" y="56080"/>
                  <a:pt x="10699457" y="78430"/>
                  <a:pt x="10675953" y="68623"/>
                </a:cubicBezTo>
                <a:cubicBezTo>
                  <a:pt x="10685972" y="89202"/>
                  <a:pt x="10641629" y="69781"/>
                  <a:pt x="10637091" y="90361"/>
                </a:cubicBezTo>
                <a:cubicBezTo>
                  <a:pt x="10635214" y="107005"/>
                  <a:pt x="10621323" y="104993"/>
                  <a:pt x="10610971" y="110764"/>
                </a:cubicBezTo>
                <a:cubicBezTo>
                  <a:pt x="10603980" y="127568"/>
                  <a:pt x="10551417" y="141180"/>
                  <a:pt x="10532872" y="138028"/>
                </a:cubicBezTo>
                <a:cubicBezTo>
                  <a:pt x="10480300" y="119072"/>
                  <a:pt x="10440532" y="186296"/>
                  <a:pt x="10398558" y="172911"/>
                </a:cubicBezTo>
                <a:cubicBezTo>
                  <a:pt x="10387708" y="174114"/>
                  <a:pt x="10378792" y="177646"/>
                  <a:pt x="10371128" y="182609"/>
                </a:cubicBezTo>
                <a:lnTo>
                  <a:pt x="10352178" y="199976"/>
                </a:lnTo>
                <a:lnTo>
                  <a:pt x="10351815" y="211879"/>
                </a:lnTo>
                <a:lnTo>
                  <a:pt x="10337471" y="218661"/>
                </a:lnTo>
                <a:lnTo>
                  <a:pt x="10334625" y="222351"/>
                </a:lnTo>
                <a:cubicBezTo>
                  <a:pt x="10321108" y="225227"/>
                  <a:pt x="10278615" y="228401"/>
                  <a:pt x="10256365" y="235917"/>
                </a:cubicBezTo>
                <a:cubicBezTo>
                  <a:pt x="10218136" y="258033"/>
                  <a:pt x="10224552" y="209685"/>
                  <a:pt x="10201127" y="267448"/>
                </a:cubicBezTo>
                <a:cubicBezTo>
                  <a:pt x="10121320" y="273476"/>
                  <a:pt x="10040763" y="345580"/>
                  <a:pt x="9961218" y="326720"/>
                </a:cubicBezTo>
                <a:cubicBezTo>
                  <a:pt x="9980173" y="341621"/>
                  <a:pt x="9883038" y="318484"/>
                  <a:pt x="9859715" y="355698"/>
                </a:cubicBezTo>
                <a:cubicBezTo>
                  <a:pt x="9812822" y="367758"/>
                  <a:pt x="9752089" y="383830"/>
                  <a:pt x="9679867" y="399081"/>
                </a:cubicBezTo>
                <a:cubicBezTo>
                  <a:pt x="9618357" y="415668"/>
                  <a:pt x="9525492" y="446315"/>
                  <a:pt x="9490654" y="455225"/>
                </a:cubicBezTo>
                <a:lnTo>
                  <a:pt x="9470837" y="452539"/>
                </a:lnTo>
                <a:lnTo>
                  <a:pt x="9469082" y="454891"/>
                </a:lnTo>
                <a:cubicBezTo>
                  <a:pt x="9460057" y="461184"/>
                  <a:pt x="9453495" y="461729"/>
                  <a:pt x="9448038" y="459733"/>
                </a:cubicBezTo>
                <a:lnTo>
                  <a:pt x="9396821" y="455795"/>
                </a:lnTo>
                <a:lnTo>
                  <a:pt x="9392197" y="459796"/>
                </a:lnTo>
                <a:lnTo>
                  <a:pt x="9347994" y="464462"/>
                </a:lnTo>
                <a:cubicBezTo>
                  <a:pt x="9347959" y="465155"/>
                  <a:pt x="9347925" y="465846"/>
                  <a:pt x="9347889" y="466539"/>
                </a:cubicBezTo>
                <a:cubicBezTo>
                  <a:pt x="9346648" y="471307"/>
                  <a:pt x="9343831" y="475025"/>
                  <a:pt x="9337639" y="476654"/>
                </a:cubicBezTo>
                <a:cubicBezTo>
                  <a:pt x="9354547" y="503661"/>
                  <a:pt x="9307720" y="510631"/>
                  <a:pt x="9287964" y="513052"/>
                </a:cubicBezTo>
                <a:cubicBezTo>
                  <a:pt x="9269905" y="526173"/>
                  <a:pt x="9245386" y="544358"/>
                  <a:pt x="9229283" y="555377"/>
                </a:cubicBezTo>
                <a:lnTo>
                  <a:pt x="9220274" y="557502"/>
                </a:lnTo>
                <a:cubicBezTo>
                  <a:pt x="9220250" y="557668"/>
                  <a:pt x="9220226" y="557835"/>
                  <a:pt x="9220202" y="558001"/>
                </a:cubicBezTo>
                <a:cubicBezTo>
                  <a:pt x="9218468" y="559434"/>
                  <a:pt x="9215591" y="560497"/>
                  <a:pt x="9210908" y="561147"/>
                </a:cubicBezTo>
                <a:lnTo>
                  <a:pt x="9186374" y="565502"/>
                </a:lnTo>
                <a:lnTo>
                  <a:pt x="9181058" y="569943"/>
                </a:lnTo>
                <a:lnTo>
                  <a:pt x="9167549" y="584727"/>
                </a:lnTo>
                <a:lnTo>
                  <a:pt x="9149110" y="598906"/>
                </a:lnTo>
                <a:cubicBezTo>
                  <a:pt x="9133575" y="594395"/>
                  <a:pt x="9087390" y="636567"/>
                  <a:pt x="9078556" y="644039"/>
                </a:cubicBezTo>
                <a:lnTo>
                  <a:pt x="8996399" y="690055"/>
                </a:lnTo>
                <a:cubicBezTo>
                  <a:pt x="8913147" y="777045"/>
                  <a:pt x="8867993" y="772591"/>
                  <a:pt x="8803791" y="813860"/>
                </a:cubicBezTo>
                <a:cubicBezTo>
                  <a:pt x="8745270" y="819906"/>
                  <a:pt x="8690049" y="823612"/>
                  <a:pt x="8636202" y="848463"/>
                </a:cubicBezTo>
                <a:cubicBezTo>
                  <a:pt x="8594799" y="860014"/>
                  <a:pt x="8568613" y="864779"/>
                  <a:pt x="8555372" y="883171"/>
                </a:cubicBezTo>
                <a:lnTo>
                  <a:pt x="8507229" y="901665"/>
                </a:lnTo>
                <a:lnTo>
                  <a:pt x="8428473" y="927985"/>
                </a:lnTo>
                <a:cubicBezTo>
                  <a:pt x="8428287" y="929817"/>
                  <a:pt x="8428100" y="931648"/>
                  <a:pt x="8427914" y="933480"/>
                </a:cubicBezTo>
                <a:lnTo>
                  <a:pt x="8420327" y="941984"/>
                </a:lnTo>
                <a:lnTo>
                  <a:pt x="8394729" y="948347"/>
                </a:lnTo>
                <a:lnTo>
                  <a:pt x="8380548" y="987916"/>
                </a:lnTo>
                <a:lnTo>
                  <a:pt x="8375330" y="965444"/>
                </a:lnTo>
                <a:cubicBezTo>
                  <a:pt x="8372375" y="964202"/>
                  <a:pt x="8344433" y="977378"/>
                  <a:pt x="8340796" y="980522"/>
                </a:cubicBezTo>
                <a:cubicBezTo>
                  <a:pt x="8328292" y="982128"/>
                  <a:pt x="8319237" y="991089"/>
                  <a:pt x="8304438" y="996739"/>
                </a:cubicBezTo>
                <a:cubicBezTo>
                  <a:pt x="8297193" y="1005683"/>
                  <a:pt x="8289328" y="1014568"/>
                  <a:pt x="8280929" y="1023089"/>
                </a:cubicBezTo>
                <a:lnTo>
                  <a:pt x="8275760" y="1027772"/>
                </a:lnTo>
                <a:lnTo>
                  <a:pt x="8275478" y="1027605"/>
                </a:lnTo>
                <a:cubicBezTo>
                  <a:pt x="8273970" y="1028076"/>
                  <a:pt x="8251461" y="1029408"/>
                  <a:pt x="8249003" y="1032033"/>
                </a:cubicBezTo>
                <a:lnTo>
                  <a:pt x="8203836" y="1037347"/>
                </a:lnTo>
                <a:cubicBezTo>
                  <a:pt x="8172789" y="1049890"/>
                  <a:pt x="8148166" y="1034625"/>
                  <a:pt x="8122936" y="1063113"/>
                </a:cubicBezTo>
                <a:cubicBezTo>
                  <a:pt x="8093850" y="1074757"/>
                  <a:pt x="8066781" y="1075350"/>
                  <a:pt x="8043658" y="1092746"/>
                </a:cubicBezTo>
                <a:cubicBezTo>
                  <a:pt x="8032157" y="1089174"/>
                  <a:pt x="8022145" y="1089998"/>
                  <a:pt x="8015351" y="1105478"/>
                </a:cubicBezTo>
                <a:cubicBezTo>
                  <a:pt x="7987544" y="1113006"/>
                  <a:pt x="7977708" y="1099152"/>
                  <a:pt x="7963145" y="1119346"/>
                </a:cubicBezTo>
                <a:cubicBezTo>
                  <a:pt x="7942622" y="1098880"/>
                  <a:pt x="7943760" y="1109516"/>
                  <a:pt x="7938145" y="1120225"/>
                </a:cubicBezTo>
                <a:lnTo>
                  <a:pt x="7937238" y="1121204"/>
                </a:lnTo>
                <a:lnTo>
                  <a:pt x="7934398" y="1118240"/>
                </a:lnTo>
                <a:lnTo>
                  <a:pt x="7918248" y="1124371"/>
                </a:lnTo>
                <a:lnTo>
                  <a:pt x="7914119" y="1127653"/>
                </a:lnTo>
                <a:cubicBezTo>
                  <a:pt x="7911201" y="1129547"/>
                  <a:pt x="7909169" y="1130331"/>
                  <a:pt x="7907658" y="1130350"/>
                </a:cubicBezTo>
                <a:lnTo>
                  <a:pt x="7907434" y="1130103"/>
                </a:lnTo>
                <a:lnTo>
                  <a:pt x="7901508" y="1133245"/>
                </a:lnTo>
                <a:cubicBezTo>
                  <a:pt x="7891644" y="1139271"/>
                  <a:pt x="7882185" y="1145815"/>
                  <a:pt x="7873287" y="1152609"/>
                </a:cubicBezTo>
                <a:cubicBezTo>
                  <a:pt x="7864672" y="1141906"/>
                  <a:pt x="7845199" y="1159242"/>
                  <a:pt x="7834833" y="1153868"/>
                </a:cubicBezTo>
                <a:lnTo>
                  <a:pt x="7828661" y="1139994"/>
                </a:lnTo>
                <a:lnTo>
                  <a:pt x="7823966" y="1143178"/>
                </a:lnTo>
                <a:lnTo>
                  <a:pt x="7815078" y="1151776"/>
                </a:lnTo>
                <a:cubicBezTo>
                  <a:pt x="7813692" y="1152943"/>
                  <a:pt x="7812687" y="1153116"/>
                  <a:pt x="7812026" y="1151522"/>
                </a:cubicBezTo>
                <a:cubicBezTo>
                  <a:pt x="7806555" y="1153054"/>
                  <a:pt x="7788673" y="1159989"/>
                  <a:pt x="7782249" y="1160970"/>
                </a:cubicBezTo>
                <a:lnTo>
                  <a:pt x="7773476" y="1157414"/>
                </a:lnTo>
                <a:lnTo>
                  <a:pt x="7769600" y="1157365"/>
                </a:lnTo>
                <a:lnTo>
                  <a:pt x="7752631" y="1172815"/>
                </a:lnTo>
                <a:lnTo>
                  <a:pt x="7739392" y="1192062"/>
                </a:lnTo>
                <a:lnTo>
                  <a:pt x="7677677" y="1216394"/>
                </a:lnTo>
                <a:lnTo>
                  <a:pt x="7586920" y="1261888"/>
                </a:lnTo>
                <a:cubicBezTo>
                  <a:pt x="7556723" y="1298911"/>
                  <a:pt x="7489187" y="1284518"/>
                  <a:pt x="7486100" y="1292563"/>
                </a:cubicBezTo>
                <a:cubicBezTo>
                  <a:pt x="7454875" y="1308356"/>
                  <a:pt x="7453335" y="1326361"/>
                  <a:pt x="7411323" y="1340732"/>
                </a:cubicBezTo>
                <a:cubicBezTo>
                  <a:pt x="7372519" y="1390006"/>
                  <a:pt x="7288617" y="1403664"/>
                  <a:pt x="7240698" y="1438832"/>
                </a:cubicBezTo>
                <a:cubicBezTo>
                  <a:pt x="7206467" y="1417136"/>
                  <a:pt x="7227555" y="1441678"/>
                  <a:pt x="7197675" y="1447530"/>
                </a:cubicBezTo>
                <a:cubicBezTo>
                  <a:pt x="7211601" y="1474927"/>
                  <a:pt x="7159483" y="1444981"/>
                  <a:pt x="7164788" y="1480293"/>
                </a:cubicBezTo>
                <a:cubicBezTo>
                  <a:pt x="7159184" y="1480240"/>
                  <a:pt x="7153584" y="1479075"/>
                  <a:pt x="7147929" y="1477641"/>
                </a:cubicBezTo>
                <a:lnTo>
                  <a:pt x="7144965" y="1476908"/>
                </a:lnTo>
                <a:lnTo>
                  <a:pt x="7134299" y="1479969"/>
                </a:lnTo>
                <a:lnTo>
                  <a:pt x="7129809" y="1473339"/>
                </a:lnTo>
                <a:lnTo>
                  <a:pt x="7112688" y="1472575"/>
                </a:lnTo>
                <a:cubicBezTo>
                  <a:pt x="7106506" y="1473449"/>
                  <a:pt x="7100123" y="1475741"/>
                  <a:pt x="7093470" y="1480300"/>
                </a:cubicBezTo>
                <a:cubicBezTo>
                  <a:pt x="7079039" y="1501274"/>
                  <a:pt x="7048991" y="1495718"/>
                  <a:pt x="7025034" y="1506934"/>
                </a:cubicBezTo>
                <a:lnTo>
                  <a:pt x="7014783" y="1515868"/>
                </a:lnTo>
                <a:lnTo>
                  <a:pt x="6979706" y="1523511"/>
                </a:lnTo>
                <a:lnTo>
                  <a:pt x="6977890" y="1525793"/>
                </a:lnTo>
                <a:cubicBezTo>
                  <a:pt x="6971996" y="1527914"/>
                  <a:pt x="6959488" y="1529941"/>
                  <a:pt x="6944339" y="1536237"/>
                </a:cubicBezTo>
                <a:lnTo>
                  <a:pt x="6886996" y="1563569"/>
                </a:lnTo>
                <a:lnTo>
                  <a:pt x="6874510" y="1558469"/>
                </a:lnTo>
                <a:lnTo>
                  <a:pt x="6871943" y="1554651"/>
                </a:lnTo>
                <a:lnTo>
                  <a:pt x="6856174" y="1562024"/>
                </a:lnTo>
                <a:lnTo>
                  <a:pt x="6842321" y="1560554"/>
                </a:lnTo>
                <a:lnTo>
                  <a:pt x="6832713" y="1569357"/>
                </a:lnTo>
                <a:lnTo>
                  <a:pt x="6816351" y="1571495"/>
                </a:lnTo>
                <a:cubicBezTo>
                  <a:pt x="6810216" y="1571510"/>
                  <a:pt x="6803310" y="1571324"/>
                  <a:pt x="6795800" y="1572010"/>
                </a:cubicBezTo>
                <a:lnTo>
                  <a:pt x="6777546" y="1568661"/>
                </a:lnTo>
                <a:lnTo>
                  <a:pt x="6751528" y="1574143"/>
                </a:lnTo>
                <a:cubicBezTo>
                  <a:pt x="6731455" y="1578562"/>
                  <a:pt x="6712054" y="1582098"/>
                  <a:pt x="6691966" y="1582255"/>
                </a:cubicBezTo>
                <a:cubicBezTo>
                  <a:pt x="6677921" y="1590738"/>
                  <a:pt x="6663787" y="1595441"/>
                  <a:pt x="6646941" y="1588471"/>
                </a:cubicBezTo>
                <a:cubicBezTo>
                  <a:pt x="6605135" y="1597971"/>
                  <a:pt x="6598373" y="1612583"/>
                  <a:pt x="6568576" y="1606488"/>
                </a:cubicBezTo>
                <a:cubicBezTo>
                  <a:pt x="6562510" y="1614734"/>
                  <a:pt x="6558067" y="1619360"/>
                  <a:pt x="6554358" y="1621701"/>
                </a:cubicBezTo>
                <a:cubicBezTo>
                  <a:pt x="6543227" y="1628727"/>
                  <a:pt x="6538724" y="1615196"/>
                  <a:pt x="6516968" y="1617195"/>
                </a:cubicBezTo>
                <a:cubicBezTo>
                  <a:pt x="6493173" y="1617368"/>
                  <a:pt x="6528193" y="1598652"/>
                  <a:pt x="6506479" y="1602227"/>
                </a:cubicBezTo>
                <a:cubicBezTo>
                  <a:pt x="6486674" y="1613929"/>
                  <a:pt x="6478484" y="1593997"/>
                  <a:pt x="6458436" y="1607332"/>
                </a:cubicBezTo>
                <a:cubicBezTo>
                  <a:pt x="6471168" y="1620800"/>
                  <a:pt x="6410323" y="1615478"/>
                  <a:pt x="6414786" y="1628815"/>
                </a:cubicBezTo>
                <a:cubicBezTo>
                  <a:pt x="6385942" y="1615041"/>
                  <a:pt x="6386569" y="1640238"/>
                  <a:pt x="6357085" y="1640846"/>
                </a:cubicBezTo>
                <a:cubicBezTo>
                  <a:pt x="6341163" y="1636809"/>
                  <a:pt x="6331497" y="1637754"/>
                  <a:pt x="6322636" y="1648213"/>
                </a:cubicBezTo>
                <a:cubicBezTo>
                  <a:pt x="6248448" y="1627802"/>
                  <a:pt x="6286748" y="1654976"/>
                  <a:pt x="6226172" y="1654676"/>
                </a:cubicBezTo>
                <a:lnTo>
                  <a:pt x="6221217" y="1654506"/>
                </a:lnTo>
                <a:lnTo>
                  <a:pt x="6204956" y="1664280"/>
                </a:lnTo>
                <a:cubicBezTo>
                  <a:pt x="6204728" y="1665114"/>
                  <a:pt x="6204498" y="1665947"/>
                  <a:pt x="6204270" y="1666782"/>
                </a:cubicBezTo>
                <a:lnTo>
                  <a:pt x="6143810" y="1661963"/>
                </a:lnTo>
                <a:lnTo>
                  <a:pt x="6136560" y="1665728"/>
                </a:lnTo>
                <a:lnTo>
                  <a:pt x="6096155" y="1656951"/>
                </a:lnTo>
                <a:lnTo>
                  <a:pt x="6075812" y="1655422"/>
                </a:lnTo>
                <a:lnTo>
                  <a:pt x="6039495" y="1649680"/>
                </a:lnTo>
                <a:lnTo>
                  <a:pt x="6036523" y="1652121"/>
                </a:lnTo>
                <a:lnTo>
                  <a:pt x="6029328" y="1649904"/>
                </a:lnTo>
                <a:lnTo>
                  <a:pt x="6024075" y="1652779"/>
                </a:lnTo>
                <a:lnTo>
                  <a:pt x="6018085" y="1652030"/>
                </a:lnTo>
                <a:cubicBezTo>
                  <a:pt x="6006658" y="1653831"/>
                  <a:pt x="5968194" y="1662035"/>
                  <a:pt x="5955513" y="1663584"/>
                </a:cubicBezTo>
                <a:lnTo>
                  <a:pt x="5941996" y="1661326"/>
                </a:lnTo>
                <a:lnTo>
                  <a:pt x="5931789" y="1669915"/>
                </a:lnTo>
                <a:lnTo>
                  <a:pt x="5888686" y="1672175"/>
                </a:lnTo>
                <a:lnTo>
                  <a:pt x="5873794" y="1665454"/>
                </a:lnTo>
                <a:lnTo>
                  <a:pt x="5860022" y="1660635"/>
                </a:lnTo>
                <a:lnTo>
                  <a:pt x="5858237" y="1660649"/>
                </a:lnTo>
                <a:lnTo>
                  <a:pt x="5840319" y="1660798"/>
                </a:lnTo>
                <a:lnTo>
                  <a:pt x="5806984" y="1661075"/>
                </a:lnTo>
                <a:cubicBezTo>
                  <a:pt x="5785708" y="1661533"/>
                  <a:pt x="5764126" y="1662974"/>
                  <a:pt x="5742351" y="1667489"/>
                </a:cubicBezTo>
                <a:cubicBezTo>
                  <a:pt x="5659069" y="1645168"/>
                  <a:pt x="5615134" y="1706361"/>
                  <a:pt x="5521171" y="1671626"/>
                </a:cubicBezTo>
                <a:cubicBezTo>
                  <a:pt x="5491803" y="1671296"/>
                  <a:pt x="5498089" y="1662666"/>
                  <a:pt x="5457384" y="1683952"/>
                </a:cubicBezTo>
                <a:cubicBezTo>
                  <a:pt x="5356959" y="1699287"/>
                  <a:pt x="5078905" y="1774579"/>
                  <a:pt x="4950070" y="1748401"/>
                </a:cubicBezTo>
                <a:cubicBezTo>
                  <a:pt x="4918276" y="1752255"/>
                  <a:pt x="4891043" y="1756936"/>
                  <a:pt x="4872172" y="1757222"/>
                </a:cubicBezTo>
                <a:lnTo>
                  <a:pt x="4809524" y="1761033"/>
                </a:lnTo>
                <a:cubicBezTo>
                  <a:pt x="4791324" y="1772975"/>
                  <a:pt x="4777258" y="1754591"/>
                  <a:pt x="4759058" y="1766533"/>
                </a:cubicBezTo>
                <a:cubicBezTo>
                  <a:pt x="4747481" y="1770744"/>
                  <a:pt x="4734604" y="1772921"/>
                  <a:pt x="4719749" y="1771811"/>
                </a:cubicBezTo>
                <a:cubicBezTo>
                  <a:pt x="4671168" y="1780243"/>
                  <a:pt x="4634134" y="1775931"/>
                  <a:pt x="4568686" y="1786141"/>
                </a:cubicBezTo>
                <a:cubicBezTo>
                  <a:pt x="4544667" y="1777910"/>
                  <a:pt x="4432547" y="1778168"/>
                  <a:pt x="4418751" y="1796932"/>
                </a:cubicBezTo>
                <a:cubicBezTo>
                  <a:pt x="4403360" y="1801488"/>
                  <a:pt x="4385278" y="1795746"/>
                  <a:pt x="4378377" y="1815528"/>
                </a:cubicBezTo>
                <a:cubicBezTo>
                  <a:pt x="4366870" y="1839461"/>
                  <a:pt x="4337372" y="1814003"/>
                  <a:pt x="4320575" y="1832722"/>
                </a:cubicBezTo>
                <a:cubicBezTo>
                  <a:pt x="4277898" y="1857053"/>
                  <a:pt x="4243945" y="1846759"/>
                  <a:pt x="4211935" y="1860177"/>
                </a:cubicBezTo>
                <a:cubicBezTo>
                  <a:pt x="4181519" y="1859584"/>
                  <a:pt x="4171342" y="1859762"/>
                  <a:pt x="4101228" y="1868717"/>
                </a:cubicBezTo>
                <a:cubicBezTo>
                  <a:pt x="4080159" y="1876188"/>
                  <a:pt x="4039427" y="1877381"/>
                  <a:pt x="3973223" y="1881015"/>
                </a:cubicBezTo>
                <a:cubicBezTo>
                  <a:pt x="3971330" y="1884974"/>
                  <a:pt x="3952843" y="1879225"/>
                  <a:pt x="3900992" y="1880603"/>
                </a:cubicBezTo>
                <a:cubicBezTo>
                  <a:pt x="3849141" y="1881981"/>
                  <a:pt x="3740060" y="1895686"/>
                  <a:pt x="3662119" y="1889285"/>
                </a:cubicBezTo>
                <a:cubicBezTo>
                  <a:pt x="3565155" y="1881322"/>
                  <a:pt x="3613412" y="1915150"/>
                  <a:pt x="3496919" y="1873180"/>
                </a:cubicBezTo>
                <a:cubicBezTo>
                  <a:pt x="3488062" y="1895719"/>
                  <a:pt x="3474293" y="1876288"/>
                  <a:pt x="3449433" y="1889681"/>
                </a:cubicBezTo>
                <a:cubicBezTo>
                  <a:pt x="3406553" y="1891629"/>
                  <a:pt x="3413217" y="1897797"/>
                  <a:pt x="3369766" y="1916653"/>
                </a:cubicBezTo>
                <a:cubicBezTo>
                  <a:pt x="3338805" y="1929531"/>
                  <a:pt x="3289487" y="1928617"/>
                  <a:pt x="3269672" y="1938036"/>
                </a:cubicBezTo>
                <a:lnTo>
                  <a:pt x="3224897" y="1943733"/>
                </a:lnTo>
                <a:cubicBezTo>
                  <a:pt x="3188693" y="1949271"/>
                  <a:pt x="3178540" y="1909145"/>
                  <a:pt x="3161463" y="1946591"/>
                </a:cubicBezTo>
                <a:lnTo>
                  <a:pt x="3112044" y="1935614"/>
                </a:lnTo>
                <a:lnTo>
                  <a:pt x="3069716" y="1930463"/>
                </a:lnTo>
                <a:cubicBezTo>
                  <a:pt x="3049937" y="1924285"/>
                  <a:pt x="3047816" y="1925644"/>
                  <a:pt x="3005773" y="1915878"/>
                </a:cubicBezTo>
                <a:cubicBezTo>
                  <a:pt x="2978838" y="1921092"/>
                  <a:pt x="2967972" y="1927319"/>
                  <a:pt x="2897201" y="1926772"/>
                </a:cubicBezTo>
                <a:lnTo>
                  <a:pt x="2783891" y="1931749"/>
                </a:lnTo>
                <a:cubicBezTo>
                  <a:pt x="2753098" y="1932794"/>
                  <a:pt x="2731621" y="1915151"/>
                  <a:pt x="2712447" y="1933044"/>
                </a:cubicBezTo>
                <a:cubicBezTo>
                  <a:pt x="2621923" y="1990472"/>
                  <a:pt x="2637976" y="1949546"/>
                  <a:pt x="2560151" y="1963609"/>
                </a:cubicBezTo>
                <a:cubicBezTo>
                  <a:pt x="2472084" y="1973456"/>
                  <a:pt x="2423631" y="1962133"/>
                  <a:pt x="2367221" y="1971884"/>
                </a:cubicBezTo>
                <a:cubicBezTo>
                  <a:pt x="2355331" y="1950582"/>
                  <a:pt x="2295649" y="1950006"/>
                  <a:pt x="2272130" y="1961162"/>
                </a:cubicBezTo>
                <a:cubicBezTo>
                  <a:pt x="2229336" y="1964326"/>
                  <a:pt x="2232627" y="1943953"/>
                  <a:pt x="2189404" y="1978172"/>
                </a:cubicBezTo>
                <a:cubicBezTo>
                  <a:pt x="2153824" y="1968017"/>
                  <a:pt x="2114605" y="1969166"/>
                  <a:pt x="2077704" y="1965002"/>
                </a:cubicBezTo>
                <a:cubicBezTo>
                  <a:pt x="2053064" y="1962036"/>
                  <a:pt x="2051584" y="1971011"/>
                  <a:pt x="2033299" y="1969042"/>
                </a:cubicBezTo>
                <a:cubicBezTo>
                  <a:pt x="2015014" y="1967073"/>
                  <a:pt x="1998956" y="1958903"/>
                  <a:pt x="1967996" y="1953187"/>
                </a:cubicBezTo>
                <a:cubicBezTo>
                  <a:pt x="1924117" y="1970917"/>
                  <a:pt x="1915668" y="1940297"/>
                  <a:pt x="1855805" y="1926082"/>
                </a:cubicBezTo>
                <a:cubicBezTo>
                  <a:pt x="1830663" y="1943732"/>
                  <a:pt x="1810564" y="1935694"/>
                  <a:pt x="1790957" y="1919460"/>
                </a:cubicBezTo>
                <a:cubicBezTo>
                  <a:pt x="1732588" y="1924884"/>
                  <a:pt x="1679506" y="1900619"/>
                  <a:pt x="1613978" y="1891581"/>
                </a:cubicBezTo>
                <a:cubicBezTo>
                  <a:pt x="1542961" y="1912227"/>
                  <a:pt x="1506863" y="1865666"/>
                  <a:pt x="1436831" y="1856201"/>
                </a:cubicBezTo>
                <a:cubicBezTo>
                  <a:pt x="1409149" y="1862955"/>
                  <a:pt x="1416370" y="1829853"/>
                  <a:pt x="1357365" y="1832140"/>
                </a:cubicBezTo>
                <a:cubicBezTo>
                  <a:pt x="1285880" y="1811785"/>
                  <a:pt x="1273193" y="1786872"/>
                  <a:pt x="1232341" y="1785942"/>
                </a:cubicBezTo>
                <a:cubicBezTo>
                  <a:pt x="1223903" y="1792798"/>
                  <a:pt x="1160576" y="1793911"/>
                  <a:pt x="1162595" y="1784330"/>
                </a:cubicBezTo>
                <a:cubicBezTo>
                  <a:pt x="1153167" y="1787110"/>
                  <a:pt x="1122206" y="1805077"/>
                  <a:pt x="1120257" y="1789615"/>
                </a:cubicBezTo>
                <a:cubicBezTo>
                  <a:pt x="1073149" y="1786750"/>
                  <a:pt x="1034361" y="1768718"/>
                  <a:pt x="991903" y="1786741"/>
                </a:cubicBezTo>
                <a:cubicBezTo>
                  <a:pt x="966383" y="1781126"/>
                  <a:pt x="949501" y="1800915"/>
                  <a:pt x="883960" y="1809389"/>
                </a:cubicBezTo>
                <a:cubicBezTo>
                  <a:pt x="836064" y="1808194"/>
                  <a:pt x="826980" y="1826610"/>
                  <a:pt x="766531" y="1805053"/>
                </a:cubicBezTo>
                <a:cubicBezTo>
                  <a:pt x="732778" y="1801141"/>
                  <a:pt x="694055" y="1787044"/>
                  <a:pt x="669779" y="1800537"/>
                </a:cubicBezTo>
                <a:cubicBezTo>
                  <a:pt x="645252" y="1794709"/>
                  <a:pt x="563495" y="1813232"/>
                  <a:pt x="523898" y="1811085"/>
                </a:cubicBezTo>
                <a:cubicBezTo>
                  <a:pt x="457555" y="1798530"/>
                  <a:pt x="395227" y="1824052"/>
                  <a:pt x="360251" y="1830735"/>
                </a:cubicBezTo>
                <a:cubicBezTo>
                  <a:pt x="313564" y="1825583"/>
                  <a:pt x="298281" y="1811622"/>
                  <a:pt x="255207" y="1818275"/>
                </a:cubicBezTo>
                <a:cubicBezTo>
                  <a:pt x="206572" y="1839769"/>
                  <a:pt x="160277" y="1836800"/>
                  <a:pt x="101803" y="1870647"/>
                </a:cubicBezTo>
                <a:cubicBezTo>
                  <a:pt x="85849" y="1910002"/>
                  <a:pt x="27997" y="1845258"/>
                  <a:pt x="25397" y="1888443"/>
                </a:cubicBezTo>
                <a:cubicBezTo>
                  <a:pt x="19096" y="1881154"/>
                  <a:pt x="11260" y="1878398"/>
                  <a:pt x="2370" y="1878311"/>
                </a:cubicBezTo>
                <a:lnTo>
                  <a:pt x="0" y="1878785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0D773F-7A7D-4DBB-9DEA-86BB8B8F4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381624" y="6209414"/>
            <a:ext cx="6810375" cy="648586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7B14C7-547B-B895-69C1-B8D35E284A6D}"/>
              </a:ext>
            </a:extLst>
          </p:cNvPr>
          <p:cNvSpPr txBox="1"/>
          <p:nvPr/>
        </p:nvSpPr>
        <p:spPr>
          <a:xfrm>
            <a:off x="240443" y="570529"/>
            <a:ext cx="716582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8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Acknowledgemen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13CB4C-6F01-75BC-80B4-94CD7AE68AAB}"/>
              </a:ext>
            </a:extLst>
          </p:cNvPr>
          <p:cNvSpPr txBox="1"/>
          <p:nvPr/>
        </p:nvSpPr>
        <p:spPr>
          <a:xfrm>
            <a:off x="240443" y="1727537"/>
            <a:ext cx="11176857" cy="44818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93C34E-D118-1F6E-2EB2-85F6A3258027}"/>
              </a:ext>
            </a:extLst>
          </p:cNvPr>
          <p:cNvSpPr txBox="1"/>
          <p:nvPr/>
        </p:nvSpPr>
        <p:spPr>
          <a:xfrm>
            <a:off x="240442" y="2249739"/>
            <a:ext cx="8047215" cy="22221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2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pecial thanks to:</a:t>
            </a:r>
          </a:p>
          <a:p>
            <a:pPr marL="1257300" lvl="2" indent="-342900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ject Leaders</a:t>
            </a:r>
          </a:p>
          <a:p>
            <a:pPr marL="1257300" lvl="2" indent="-342900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tetakers</a:t>
            </a:r>
          </a:p>
          <a:p>
            <a:pPr marL="1257300" lvl="2" indent="-342900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armers and spray applicators</a:t>
            </a:r>
          </a:p>
          <a:p>
            <a:pPr lvl="2">
              <a:lnSpc>
                <a:spcPct val="120000"/>
              </a:lnSpc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47593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FF47CB7-972F-479F-A36D-9E72D26EC8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153B68-5844-490D-8E67-F616D6D7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1766176" cy="2061837"/>
          </a:xfrm>
          <a:custGeom>
            <a:avLst/>
            <a:gdLst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13657 w 10768629"/>
              <a:gd name="connsiteY144" fmla="*/ 1730706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84330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0768629" h="1978172">
                <a:moveTo>
                  <a:pt x="0" y="0"/>
                </a:moveTo>
                <a:lnTo>
                  <a:pt x="10768629" y="0"/>
                </a:lnTo>
                <a:lnTo>
                  <a:pt x="10733254" y="31439"/>
                </a:lnTo>
                <a:lnTo>
                  <a:pt x="10727085" y="37910"/>
                </a:lnTo>
                <a:cubicBezTo>
                  <a:pt x="10712973" y="56080"/>
                  <a:pt x="10699457" y="78430"/>
                  <a:pt x="10675953" y="68623"/>
                </a:cubicBezTo>
                <a:cubicBezTo>
                  <a:pt x="10685972" y="89202"/>
                  <a:pt x="10641629" y="69781"/>
                  <a:pt x="10637091" y="90361"/>
                </a:cubicBezTo>
                <a:cubicBezTo>
                  <a:pt x="10635214" y="107005"/>
                  <a:pt x="10621323" y="104993"/>
                  <a:pt x="10610971" y="110764"/>
                </a:cubicBezTo>
                <a:cubicBezTo>
                  <a:pt x="10603980" y="127568"/>
                  <a:pt x="10551417" y="141180"/>
                  <a:pt x="10532872" y="138028"/>
                </a:cubicBezTo>
                <a:cubicBezTo>
                  <a:pt x="10480300" y="119072"/>
                  <a:pt x="10440532" y="186296"/>
                  <a:pt x="10398558" y="172911"/>
                </a:cubicBezTo>
                <a:cubicBezTo>
                  <a:pt x="10387708" y="174114"/>
                  <a:pt x="10378792" y="177646"/>
                  <a:pt x="10371128" y="182609"/>
                </a:cubicBezTo>
                <a:lnTo>
                  <a:pt x="10352178" y="199976"/>
                </a:lnTo>
                <a:lnTo>
                  <a:pt x="10351815" y="211879"/>
                </a:lnTo>
                <a:lnTo>
                  <a:pt x="10337471" y="218661"/>
                </a:lnTo>
                <a:lnTo>
                  <a:pt x="10334625" y="222351"/>
                </a:lnTo>
                <a:cubicBezTo>
                  <a:pt x="10321108" y="225227"/>
                  <a:pt x="10278615" y="228401"/>
                  <a:pt x="10256365" y="235917"/>
                </a:cubicBezTo>
                <a:cubicBezTo>
                  <a:pt x="10218136" y="258033"/>
                  <a:pt x="10224552" y="209685"/>
                  <a:pt x="10201127" y="267448"/>
                </a:cubicBezTo>
                <a:cubicBezTo>
                  <a:pt x="10121320" y="273476"/>
                  <a:pt x="10040763" y="345580"/>
                  <a:pt x="9961218" y="326720"/>
                </a:cubicBezTo>
                <a:cubicBezTo>
                  <a:pt x="9980173" y="341621"/>
                  <a:pt x="9883038" y="318484"/>
                  <a:pt x="9859715" y="355698"/>
                </a:cubicBezTo>
                <a:cubicBezTo>
                  <a:pt x="9812822" y="367758"/>
                  <a:pt x="9752089" y="383830"/>
                  <a:pt x="9679867" y="399081"/>
                </a:cubicBezTo>
                <a:cubicBezTo>
                  <a:pt x="9618357" y="415668"/>
                  <a:pt x="9525492" y="446315"/>
                  <a:pt x="9490654" y="455225"/>
                </a:cubicBezTo>
                <a:lnTo>
                  <a:pt x="9470837" y="452539"/>
                </a:lnTo>
                <a:lnTo>
                  <a:pt x="9469082" y="454891"/>
                </a:lnTo>
                <a:cubicBezTo>
                  <a:pt x="9460057" y="461184"/>
                  <a:pt x="9453495" y="461729"/>
                  <a:pt x="9448038" y="459733"/>
                </a:cubicBezTo>
                <a:lnTo>
                  <a:pt x="9396821" y="455795"/>
                </a:lnTo>
                <a:lnTo>
                  <a:pt x="9392197" y="459796"/>
                </a:lnTo>
                <a:lnTo>
                  <a:pt x="9347994" y="464462"/>
                </a:lnTo>
                <a:cubicBezTo>
                  <a:pt x="9347959" y="465155"/>
                  <a:pt x="9347925" y="465846"/>
                  <a:pt x="9347889" y="466539"/>
                </a:cubicBezTo>
                <a:cubicBezTo>
                  <a:pt x="9346648" y="471307"/>
                  <a:pt x="9343831" y="475025"/>
                  <a:pt x="9337639" y="476654"/>
                </a:cubicBezTo>
                <a:cubicBezTo>
                  <a:pt x="9354547" y="503661"/>
                  <a:pt x="9307720" y="510631"/>
                  <a:pt x="9287964" y="513052"/>
                </a:cubicBezTo>
                <a:cubicBezTo>
                  <a:pt x="9269905" y="526173"/>
                  <a:pt x="9245386" y="544358"/>
                  <a:pt x="9229283" y="555377"/>
                </a:cubicBezTo>
                <a:lnTo>
                  <a:pt x="9220274" y="557502"/>
                </a:lnTo>
                <a:cubicBezTo>
                  <a:pt x="9220250" y="557668"/>
                  <a:pt x="9220226" y="557835"/>
                  <a:pt x="9220202" y="558001"/>
                </a:cubicBezTo>
                <a:cubicBezTo>
                  <a:pt x="9218468" y="559434"/>
                  <a:pt x="9215591" y="560497"/>
                  <a:pt x="9210908" y="561147"/>
                </a:cubicBezTo>
                <a:lnTo>
                  <a:pt x="9186374" y="565502"/>
                </a:lnTo>
                <a:lnTo>
                  <a:pt x="9181058" y="569943"/>
                </a:lnTo>
                <a:lnTo>
                  <a:pt x="9167549" y="584727"/>
                </a:lnTo>
                <a:lnTo>
                  <a:pt x="9149110" y="598906"/>
                </a:lnTo>
                <a:cubicBezTo>
                  <a:pt x="9133575" y="594395"/>
                  <a:pt x="9087390" y="636567"/>
                  <a:pt x="9078556" y="644039"/>
                </a:cubicBezTo>
                <a:lnTo>
                  <a:pt x="8996399" y="690055"/>
                </a:lnTo>
                <a:cubicBezTo>
                  <a:pt x="8913147" y="777045"/>
                  <a:pt x="8867993" y="772591"/>
                  <a:pt x="8803791" y="813860"/>
                </a:cubicBezTo>
                <a:cubicBezTo>
                  <a:pt x="8745270" y="819906"/>
                  <a:pt x="8690049" y="823612"/>
                  <a:pt x="8636202" y="848463"/>
                </a:cubicBezTo>
                <a:cubicBezTo>
                  <a:pt x="8594799" y="860014"/>
                  <a:pt x="8568613" y="864779"/>
                  <a:pt x="8555372" y="883171"/>
                </a:cubicBezTo>
                <a:lnTo>
                  <a:pt x="8507229" y="901665"/>
                </a:lnTo>
                <a:lnTo>
                  <a:pt x="8428473" y="927985"/>
                </a:lnTo>
                <a:cubicBezTo>
                  <a:pt x="8428287" y="929817"/>
                  <a:pt x="8428100" y="931648"/>
                  <a:pt x="8427914" y="933480"/>
                </a:cubicBezTo>
                <a:lnTo>
                  <a:pt x="8420327" y="941984"/>
                </a:lnTo>
                <a:lnTo>
                  <a:pt x="8394729" y="948347"/>
                </a:lnTo>
                <a:lnTo>
                  <a:pt x="8380548" y="987916"/>
                </a:lnTo>
                <a:lnTo>
                  <a:pt x="8375330" y="965444"/>
                </a:lnTo>
                <a:cubicBezTo>
                  <a:pt x="8372375" y="964202"/>
                  <a:pt x="8344433" y="977378"/>
                  <a:pt x="8340796" y="980522"/>
                </a:cubicBezTo>
                <a:cubicBezTo>
                  <a:pt x="8328292" y="982128"/>
                  <a:pt x="8319237" y="991089"/>
                  <a:pt x="8304438" y="996739"/>
                </a:cubicBezTo>
                <a:cubicBezTo>
                  <a:pt x="8297193" y="1005683"/>
                  <a:pt x="8289328" y="1014568"/>
                  <a:pt x="8280929" y="1023089"/>
                </a:cubicBezTo>
                <a:lnTo>
                  <a:pt x="8275760" y="1027772"/>
                </a:lnTo>
                <a:lnTo>
                  <a:pt x="8275478" y="1027605"/>
                </a:lnTo>
                <a:cubicBezTo>
                  <a:pt x="8273970" y="1028076"/>
                  <a:pt x="8251461" y="1029408"/>
                  <a:pt x="8249003" y="1032033"/>
                </a:cubicBezTo>
                <a:lnTo>
                  <a:pt x="8203836" y="1037347"/>
                </a:lnTo>
                <a:cubicBezTo>
                  <a:pt x="8172789" y="1049890"/>
                  <a:pt x="8148166" y="1034625"/>
                  <a:pt x="8122936" y="1063113"/>
                </a:cubicBezTo>
                <a:cubicBezTo>
                  <a:pt x="8093850" y="1074757"/>
                  <a:pt x="8066781" y="1075350"/>
                  <a:pt x="8043658" y="1092746"/>
                </a:cubicBezTo>
                <a:cubicBezTo>
                  <a:pt x="8032157" y="1089174"/>
                  <a:pt x="8022145" y="1089998"/>
                  <a:pt x="8015351" y="1105478"/>
                </a:cubicBezTo>
                <a:cubicBezTo>
                  <a:pt x="7987544" y="1113006"/>
                  <a:pt x="7977708" y="1099152"/>
                  <a:pt x="7963145" y="1119346"/>
                </a:cubicBezTo>
                <a:cubicBezTo>
                  <a:pt x="7942622" y="1098880"/>
                  <a:pt x="7943760" y="1109516"/>
                  <a:pt x="7938145" y="1120225"/>
                </a:cubicBezTo>
                <a:lnTo>
                  <a:pt x="7937238" y="1121204"/>
                </a:lnTo>
                <a:lnTo>
                  <a:pt x="7934398" y="1118240"/>
                </a:lnTo>
                <a:lnTo>
                  <a:pt x="7918248" y="1124371"/>
                </a:lnTo>
                <a:lnTo>
                  <a:pt x="7914119" y="1127653"/>
                </a:lnTo>
                <a:cubicBezTo>
                  <a:pt x="7911201" y="1129547"/>
                  <a:pt x="7909169" y="1130331"/>
                  <a:pt x="7907658" y="1130350"/>
                </a:cubicBezTo>
                <a:lnTo>
                  <a:pt x="7907434" y="1130103"/>
                </a:lnTo>
                <a:lnTo>
                  <a:pt x="7901508" y="1133245"/>
                </a:lnTo>
                <a:cubicBezTo>
                  <a:pt x="7891644" y="1139271"/>
                  <a:pt x="7882185" y="1145815"/>
                  <a:pt x="7873287" y="1152609"/>
                </a:cubicBezTo>
                <a:cubicBezTo>
                  <a:pt x="7864672" y="1141906"/>
                  <a:pt x="7845199" y="1159242"/>
                  <a:pt x="7834833" y="1153868"/>
                </a:cubicBezTo>
                <a:lnTo>
                  <a:pt x="7828661" y="1139994"/>
                </a:lnTo>
                <a:lnTo>
                  <a:pt x="7823966" y="1143178"/>
                </a:lnTo>
                <a:lnTo>
                  <a:pt x="7815078" y="1151776"/>
                </a:lnTo>
                <a:cubicBezTo>
                  <a:pt x="7813692" y="1152943"/>
                  <a:pt x="7812687" y="1153116"/>
                  <a:pt x="7812026" y="1151522"/>
                </a:cubicBezTo>
                <a:cubicBezTo>
                  <a:pt x="7806555" y="1153054"/>
                  <a:pt x="7788673" y="1159989"/>
                  <a:pt x="7782249" y="1160970"/>
                </a:cubicBezTo>
                <a:lnTo>
                  <a:pt x="7773476" y="1157414"/>
                </a:lnTo>
                <a:lnTo>
                  <a:pt x="7769600" y="1157365"/>
                </a:lnTo>
                <a:lnTo>
                  <a:pt x="7752631" y="1172815"/>
                </a:lnTo>
                <a:lnTo>
                  <a:pt x="7739392" y="1192062"/>
                </a:lnTo>
                <a:lnTo>
                  <a:pt x="7677677" y="1216394"/>
                </a:lnTo>
                <a:lnTo>
                  <a:pt x="7586920" y="1261888"/>
                </a:lnTo>
                <a:cubicBezTo>
                  <a:pt x="7556723" y="1298911"/>
                  <a:pt x="7489187" y="1284518"/>
                  <a:pt x="7486100" y="1292563"/>
                </a:cubicBezTo>
                <a:cubicBezTo>
                  <a:pt x="7454875" y="1308356"/>
                  <a:pt x="7453335" y="1326361"/>
                  <a:pt x="7411323" y="1340732"/>
                </a:cubicBezTo>
                <a:cubicBezTo>
                  <a:pt x="7372519" y="1390006"/>
                  <a:pt x="7288617" y="1403664"/>
                  <a:pt x="7240698" y="1438832"/>
                </a:cubicBezTo>
                <a:cubicBezTo>
                  <a:pt x="7206467" y="1417136"/>
                  <a:pt x="7227555" y="1441678"/>
                  <a:pt x="7197675" y="1447530"/>
                </a:cubicBezTo>
                <a:cubicBezTo>
                  <a:pt x="7211601" y="1474927"/>
                  <a:pt x="7159483" y="1444981"/>
                  <a:pt x="7164788" y="1480293"/>
                </a:cubicBezTo>
                <a:cubicBezTo>
                  <a:pt x="7159184" y="1480240"/>
                  <a:pt x="7153584" y="1479075"/>
                  <a:pt x="7147929" y="1477641"/>
                </a:cubicBezTo>
                <a:lnTo>
                  <a:pt x="7144965" y="1476908"/>
                </a:lnTo>
                <a:lnTo>
                  <a:pt x="7134299" y="1479969"/>
                </a:lnTo>
                <a:lnTo>
                  <a:pt x="7129809" y="1473339"/>
                </a:lnTo>
                <a:lnTo>
                  <a:pt x="7112688" y="1472575"/>
                </a:lnTo>
                <a:cubicBezTo>
                  <a:pt x="7106506" y="1473449"/>
                  <a:pt x="7100123" y="1475741"/>
                  <a:pt x="7093470" y="1480300"/>
                </a:cubicBezTo>
                <a:cubicBezTo>
                  <a:pt x="7079039" y="1501274"/>
                  <a:pt x="7048991" y="1495718"/>
                  <a:pt x="7025034" y="1506934"/>
                </a:cubicBezTo>
                <a:lnTo>
                  <a:pt x="7014783" y="1515868"/>
                </a:lnTo>
                <a:lnTo>
                  <a:pt x="6979706" y="1523511"/>
                </a:lnTo>
                <a:lnTo>
                  <a:pt x="6977890" y="1525793"/>
                </a:lnTo>
                <a:cubicBezTo>
                  <a:pt x="6971996" y="1527914"/>
                  <a:pt x="6959488" y="1529941"/>
                  <a:pt x="6944339" y="1536237"/>
                </a:cubicBezTo>
                <a:lnTo>
                  <a:pt x="6886996" y="1563569"/>
                </a:lnTo>
                <a:lnTo>
                  <a:pt x="6874510" y="1558469"/>
                </a:lnTo>
                <a:lnTo>
                  <a:pt x="6871943" y="1554651"/>
                </a:lnTo>
                <a:lnTo>
                  <a:pt x="6856174" y="1562024"/>
                </a:lnTo>
                <a:lnTo>
                  <a:pt x="6842321" y="1560554"/>
                </a:lnTo>
                <a:lnTo>
                  <a:pt x="6832713" y="1569357"/>
                </a:lnTo>
                <a:lnTo>
                  <a:pt x="6816351" y="1571495"/>
                </a:lnTo>
                <a:cubicBezTo>
                  <a:pt x="6810216" y="1571510"/>
                  <a:pt x="6803310" y="1571324"/>
                  <a:pt x="6795800" y="1572010"/>
                </a:cubicBezTo>
                <a:lnTo>
                  <a:pt x="6777546" y="1568661"/>
                </a:lnTo>
                <a:lnTo>
                  <a:pt x="6751528" y="1574143"/>
                </a:lnTo>
                <a:cubicBezTo>
                  <a:pt x="6731455" y="1578562"/>
                  <a:pt x="6712054" y="1582098"/>
                  <a:pt x="6691966" y="1582255"/>
                </a:cubicBezTo>
                <a:cubicBezTo>
                  <a:pt x="6677921" y="1590738"/>
                  <a:pt x="6663787" y="1595441"/>
                  <a:pt x="6646941" y="1588471"/>
                </a:cubicBezTo>
                <a:cubicBezTo>
                  <a:pt x="6605135" y="1597971"/>
                  <a:pt x="6598373" y="1612583"/>
                  <a:pt x="6568576" y="1606488"/>
                </a:cubicBezTo>
                <a:cubicBezTo>
                  <a:pt x="6562510" y="1614734"/>
                  <a:pt x="6558067" y="1619360"/>
                  <a:pt x="6554358" y="1621701"/>
                </a:cubicBezTo>
                <a:cubicBezTo>
                  <a:pt x="6543227" y="1628727"/>
                  <a:pt x="6538724" y="1615196"/>
                  <a:pt x="6516968" y="1617195"/>
                </a:cubicBezTo>
                <a:cubicBezTo>
                  <a:pt x="6493173" y="1617368"/>
                  <a:pt x="6528193" y="1598652"/>
                  <a:pt x="6506479" y="1602227"/>
                </a:cubicBezTo>
                <a:cubicBezTo>
                  <a:pt x="6486674" y="1613929"/>
                  <a:pt x="6478484" y="1593997"/>
                  <a:pt x="6458436" y="1607332"/>
                </a:cubicBezTo>
                <a:cubicBezTo>
                  <a:pt x="6471168" y="1620800"/>
                  <a:pt x="6410323" y="1615478"/>
                  <a:pt x="6414786" y="1628815"/>
                </a:cubicBezTo>
                <a:cubicBezTo>
                  <a:pt x="6385942" y="1615041"/>
                  <a:pt x="6386569" y="1640238"/>
                  <a:pt x="6357085" y="1640846"/>
                </a:cubicBezTo>
                <a:cubicBezTo>
                  <a:pt x="6341163" y="1636809"/>
                  <a:pt x="6331497" y="1637754"/>
                  <a:pt x="6322636" y="1648213"/>
                </a:cubicBezTo>
                <a:cubicBezTo>
                  <a:pt x="6248448" y="1627802"/>
                  <a:pt x="6286748" y="1654976"/>
                  <a:pt x="6226172" y="1654676"/>
                </a:cubicBezTo>
                <a:lnTo>
                  <a:pt x="6221217" y="1654506"/>
                </a:lnTo>
                <a:lnTo>
                  <a:pt x="6204956" y="1664280"/>
                </a:lnTo>
                <a:cubicBezTo>
                  <a:pt x="6204728" y="1665114"/>
                  <a:pt x="6204498" y="1665947"/>
                  <a:pt x="6204270" y="1666782"/>
                </a:cubicBezTo>
                <a:lnTo>
                  <a:pt x="6143810" y="1661963"/>
                </a:lnTo>
                <a:lnTo>
                  <a:pt x="6136560" y="1665728"/>
                </a:lnTo>
                <a:lnTo>
                  <a:pt x="6096155" y="1656951"/>
                </a:lnTo>
                <a:lnTo>
                  <a:pt x="6075812" y="1655422"/>
                </a:lnTo>
                <a:lnTo>
                  <a:pt x="6039495" y="1649680"/>
                </a:lnTo>
                <a:lnTo>
                  <a:pt x="6036523" y="1652121"/>
                </a:lnTo>
                <a:lnTo>
                  <a:pt x="6029328" y="1649904"/>
                </a:lnTo>
                <a:lnTo>
                  <a:pt x="6024075" y="1652779"/>
                </a:lnTo>
                <a:lnTo>
                  <a:pt x="6018085" y="1652030"/>
                </a:lnTo>
                <a:cubicBezTo>
                  <a:pt x="6006658" y="1653831"/>
                  <a:pt x="5968194" y="1662035"/>
                  <a:pt x="5955513" y="1663584"/>
                </a:cubicBezTo>
                <a:lnTo>
                  <a:pt x="5941996" y="1661326"/>
                </a:lnTo>
                <a:lnTo>
                  <a:pt x="5931789" y="1669915"/>
                </a:lnTo>
                <a:lnTo>
                  <a:pt x="5888686" y="1672175"/>
                </a:lnTo>
                <a:lnTo>
                  <a:pt x="5873794" y="1665454"/>
                </a:lnTo>
                <a:lnTo>
                  <a:pt x="5860022" y="1660635"/>
                </a:lnTo>
                <a:lnTo>
                  <a:pt x="5858237" y="1660649"/>
                </a:lnTo>
                <a:lnTo>
                  <a:pt x="5840319" y="1660798"/>
                </a:lnTo>
                <a:lnTo>
                  <a:pt x="5806984" y="1661075"/>
                </a:lnTo>
                <a:cubicBezTo>
                  <a:pt x="5785708" y="1661533"/>
                  <a:pt x="5764126" y="1662974"/>
                  <a:pt x="5742351" y="1667489"/>
                </a:cubicBezTo>
                <a:cubicBezTo>
                  <a:pt x="5659069" y="1645168"/>
                  <a:pt x="5615134" y="1706361"/>
                  <a:pt x="5521171" y="1671626"/>
                </a:cubicBezTo>
                <a:cubicBezTo>
                  <a:pt x="5491803" y="1671296"/>
                  <a:pt x="5498089" y="1662666"/>
                  <a:pt x="5457384" y="1683952"/>
                </a:cubicBezTo>
                <a:cubicBezTo>
                  <a:pt x="5356959" y="1699287"/>
                  <a:pt x="5078905" y="1774579"/>
                  <a:pt x="4950070" y="1748401"/>
                </a:cubicBezTo>
                <a:cubicBezTo>
                  <a:pt x="4918276" y="1752255"/>
                  <a:pt x="4891043" y="1756936"/>
                  <a:pt x="4872172" y="1757222"/>
                </a:cubicBezTo>
                <a:lnTo>
                  <a:pt x="4809524" y="1761033"/>
                </a:lnTo>
                <a:cubicBezTo>
                  <a:pt x="4791324" y="1772975"/>
                  <a:pt x="4777258" y="1754591"/>
                  <a:pt x="4759058" y="1766533"/>
                </a:cubicBezTo>
                <a:cubicBezTo>
                  <a:pt x="4747481" y="1770744"/>
                  <a:pt x="4734604" y="1772921"/>
                  <a:pt x="4719749" y="1771811"/>
                </a:cubicBezTo>
                <a:cubicBezTo>
                  <a:pt x="4671168" y="1780243"/>
                  <a:pt x="4634134" y="1775931"/>
                  <a:pt x="4568686" y="1786141"/>
                </a:cubicBezTo>
                <a:cubicBezTo>
                  <a:pt x="4544667" y="1777910"/>
                  <a:pt x="4432547" y="1778168"/>
                  <a:pt x="4418751" y="1796932"/>
                </a:cubicBezTo>
                <a:cubicBezTo>
                  <a:pt x="4403360" y="1801488"/>
                  <a:pt x="4385278" y="1795746"/>
                  <a:pt x="4378377" y="1815528"/>
                </a:cubicBezTo>
                <a:cubicBezTo>
                  <a:pt x="4366870" y="1839461"/>
                  <a:pt x="4337372" y="1814003"/>
                  <a:pt x="4320575" y="1832722"/>
                </a:cubicBezTo>
                <a:cubicBezTo>
                  <a:pt x="4277898" y="1857053"/>
                  <a:pt x="4243945" y="1846759"/>
                  <a:pt x="4211935" y="1860177"/>
                </a:cubicBezTo>
                <a:cubicBezTo>
                  <a:pt x="4181519" y="1859584"/>
                  <a:pt x="4171342" y="1859762"/>
                  <a:pt x="4101228" y="1868717"/>
                </a:cubicBezTo>
                <a:cubicBezTo>
                  <a:pt x="4080159" y="1876188"/>
                  <a:pt x="4039427" y="1877381"/>
                  <a:pt x="3973223" y="1881015"/>
                </a:cubicBezTo>
                <a:cubicBezTo>
                  <a:pt x="3971330" y="1884974"/>
                  <a:pt x="3952843" y="1879225"/>
                  <a:pt x="3900992" y="1880603"/>
                </a:cubicBezTo>
                <a:cubicBezTo>
                  <a:pt x="3849141" y="1881981"/>
                  <a:pt x="3740060" y="1895686"/>
                  <a:pt x="3662119" y="1889285"/>
                </a:cubicBezTo>
                <a:cubicBezTo>
                  <a:pt x="3565155" y="1881322"/>
                  <a:pt x="3613412" y="1915150"/>
                  <a:pt x="3496919" y="1873180"/>
                </a:cubicBezTo>
                <a:cubicBezTo>
                  <a:pt x="3488062" y="1895719"/>
                  <a:pt x="3474293" y="1876288"/>
                  <a:pt x="3449433" y="1889681"/>
                </a:cubicBezTo>
                <a:cubicBezTo>
                  <a:pt x="3406553" y="1891629"/>
                  <a:pt x="3413217" y="1897797"/>
                  <a:pt x="3369766" y="1916653"/>
                </a:cubicBezTo>
                <a:cubicBezTo>
                  <a:pt x="3338805" y="1929531"/>
                  <a:pt x="3289487" y="1928617"/>
                  <a:pt x="3269672" y="1938036"/>
                </a:cubicBezTo>
                <a:lnTo>
                  <a:pt x="3224897" y="1943733"/>
                </a:lnTo>
                <a:cubicBezTo>
                  <a:pt x="3188693" y="1949271"/>
                  <a:pt x="3178540" y="1909145"/>
                  <a:pt x="3161463" y="1946591"/>
                </a:cubicBezTo>
                <a:lnTo>
                  <a:pt x="3112044" y="1935614"/>
                </a:lnTo>
                <a:lnTo>
                  <a:pt x="3069716" y="1930463"/>
                </a:lnTo>
                <a:cubicBezTo>
                  <a:pt x="3049937" y="1924285"/>
                  <a:pt x="3047816" y="1925644"/>
                  <a:pt x="3005773" y="1915878"/>
                </a:cubicBezTo>
                <a:cubicBezTo>
                  <a:pt x="2978838" y="1921092"/>
                  <a:pt x="2967972" y="1927319"/>
                  <a:pt x="2897201" y="1926772"/>
                </a:cubicBezTo>
                <a:lnTo>
                  <a:pt x="2783891" y="1931749"/>
                </a:lnTo>
                <a:cubicBezTo>
                  <a:pt x="2753098" y="1932794"/>
                  <a:pt x="2731621" y="1915151"/>
                  <a:pt x="2712447" y="1933044"/>
                </a:cubicBezTo>
                <a:cubicBezTo>
                  <a:pt x="2621923" y="1990472"/>
                  <a:pt x="2637976" y="1949546"/>
                  <a:pt x="2560151" y="1963609"/>
                </a:cubicBezTo>
                <a:cubicBezTo>
                  <a:pt x="2472084" y="1973456"/>
                  <a:pt x="2423631" y="1962133"/>
                  <a:pt x="2367221" y="1971884"/>
                </a:cubicBezTo>
                <a:cubicBezTo>
                  <a:pt x="2355331" y="1950582"/>
                  <a:pt x="2295649" y="1950006"/>
                  <a:pt x="2272130" y="1961162"/>
                </a:cubicBezTo>
                <a:cubicBezTo>
                  <a:pt x="2229336" y="1964326"/>
                  <a:pt x="2232627" y="1943953"/>
                  <a:pt x="2189404" y="1978172"/>
                </a:cubicBezTo>
                <a:cubicBezTo>
                  <a:pt x="2153824" y="1968017"/>
                  <a:pt x="2114605" y="1969166"/>
                  <a:pt x="2077704" y="1965002"/>
                </a:cubicBezTo>
                <a:cubicBezTo>
                  <a:pt x="2053064" y="1962036"/>
                  <a:pt x="2051584" y="1971011"/>
                  <a:pt x="2033299" y="1969042"/>
                </a:cubicBezTo>
                <a:cubicBezTo>
                  <a:pt x="2015014" y="1967073"/>
                  <a:pt x="1998956" y="1958903"/>
                  <a:pt x="1967996" y="1953187"/>
                </a:cubicBezTo>
                <a:cubicBezTo>
                  <a:pt x="1924117" y="1970917"/>
                  <a:pt x="1915668" y="1940297"/>
                  <a:pt x="1855805" y="1926082"/>
                </a:cubicBezTo>
                <a:cubicBezTo>
                  <a:pt x="1830663" y="1943732"/>
                  <a:pt x="1810564" y="1935694"/>
                  <a:pt x="1790957" y="1919460"/>
                </a:cubicBezTo>
                <a:cubicBezTo>
                  <a:pt x="1732588" y="1924884"/>
                  <a:pt x="1679506" y="1900619"/>
                  <a:pt x="1613978" y="1891581"/>
                </a:cubicBezTo>
                <a:cubicBezTo>
                  <a:pt x="1542961" y="1912227"/>
                  <a:pt x="1506863" y="1865666"/>
                  <a:pt x="1436831" y="1856201"/>
                </a:cubicBezTo>
                <a:cubicBezTo>
                  <a:pt x="1409149" y="1862955"/>
                  <a:pt x="1416370" y="1829853"/>
                  <a:pt x="1357365" y="1832140"/>
                </a:cubicBezTo>
                <a:cubicBezTo>
                  <a:pt x="1285880" y="1811785"/>
                  <a:pt x="1273193" y="1786872"/>
                  <a:pt x="1232341" y="1785942"/>
                </a:cubicBezTo>
                <a:cubicBezTo>
                  <a:pt x="1223903" y="1792798"/>
                  <a:pt x="1160576" y="1793911"/>
                  <a:pt x="1162595" y="1784330"/>
                </a:cubicBezTo>
                <a:cubicBezTo>
                  <a:pt x="1153167" y="1787110"/>
                  <a:pt x="1122206" y="1805077"/>
                  <a:pt x="1120257" y="1789615"/>
                </a:cubicBezTo>
                <a:cubicBezTo>
                  <a:pt x="1073149" y="1786750"/>
                  <a:pt x="1034361" y="1768718"/>
                  <a:pt x="991903" y="1786741"/>
                </a:cubicBezTo>
                <a:cubicBezTo>
                  <a:pt x="966383" y="1781126"/>
                  <a:pt x="949501" y="1800915"/>
                  <a:pt x="883960" y="1809389"/>
                </a:cubicBezTo>
                <a:cubicBezTo>
                  <a:pt x="836064" y="1808194"/>
                  <a:pt x="826980" y="1826610"/>
                  <a:pt x="766531" y="1805053"/>
                </a:cubicBezTo>
                <a:cubicBezTo>
                  <a:pt x="732778" y="1801141"/>
                  <a:pt x="694055" y="1787044"/>
                  <a:pt x="669779" y="1800537"/>
                </a:cubicBezTo>
                <a:cubicBezTo>
                  <a:pt x="645252" y="1794709"/>
                  <a:pt x="563495" y="1813232"/>
                  <a:pt x="523898" y="1811085"/>
                </a:cubicBezTo>
                <a:cubicBezTo>
                  <a:pt x="457555" y="1798530"/>
                  <a:pt x="395227" y="1824052"/>
                  <a:pt x="360251" y="1830735"/>
                </a:cubicBezTo>
                <a:cubicBezTo>
                  <a:pt x="313564" y="1825583"/>
                  <a:pt x="298281" y="1811622"/>
                  <a:pt x="255207" y="1818275"/>
                </a:cubicBezTo>
                <a:cubicBezTo>
                  <a:pt x="206572" y="1839769"/>
                  <a:pt x="160277" y="1836800"/>
                  <a:pt x="101803" y="1870647"/>
                </a:cubicBezTo>
                <a:cubicBezTo>
                  <a:pt x="85849" y="1910002"/>
                  <a:pt x="27997" y="1845258"/>
                  <a:pt x="25397" y="1888443"/>
                </a:cubicBezTo>
                <a:cubicBezTo>
                  <a:pt x="19096" y="1881154"/>
                  <a:pt x="11260" y="1878398"/>
                  <a:pt x="2370" y="1878311"/>
                </a:cubicBezTo>
                <a:lnTo>
                  <a:pt x="0" y="1878785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C906950-6D88-3A8D-6F77-6B543F2BB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7034" y="609597"/>
            <a:ext cx="9392421" cy="1330841"/>
          </a:xfrm>
        </p:spPr>
        <p:txBody>
          <a:bodyPr>
            <a:normAutofit/>
          </a:bodyPr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374EA5-460B-5D39-EF9D-C8C4F8C9E4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299" y="2291640"/>
            <a:ext cx="5738812" cy="3917773"/>
          </a:xfrm>
        </p:spPr>
        <p:txBody>
          <a:bodyPr>
            <a:normAutofit/>
          </a:bodyPr>
          <a:lstStyle/>
          <a:p>
            <a:pPr marL="457200" indent="-457200">
              <a:buClr>
                <a:schemeClr val="accent2"/>
              </a:buClr>
            </a:pPr>
            <a:r>
              <a:rPr lang="en-US" dirty="0"/>
              <a:t>Personal protective equipment (PPE) important for exposure reduction, especially for handheld applications. </a:t>
            </a:r>
          </a:p>
          <a:p>
            <a:pPr marL="457200" indent="-457200"/>
            <a:r>
              <a:rPr lang="en-US" dirty="0">
                <a:latin typeface="Calibri" panose="020F0502020204030204" pitchFamily="34" charset="0"/>
                <a:cs typeface="Arial" panose="020B0604020202020204" pitchFamily="34" charset="0"/>
              </a:rPr>
              <a:t>Operator exposure studies, important to determine PPE required for risk reduction.</a:t>
            </a:r>
          </a:p>
          <a:p>
            <a:pPr marL="457200" indent="-457200">
              <a:buClr>
                <a:schemeClr val="accent2"/>
              </a:buClr>
            </a:pPr>
            <a:r>
              <a:rPr lang="en-US" dirty="0"/>
              <a:t>PPE to mitigate risk considered in the authorization of pesticide products.</a:t>
            </a:r>
          </a:p>
          <a:p>
            <a:pPr marL="457200" indent="-457200"/>
            <a:r>
              <a:rPr lang="en-US" dirty="0">
                <a:latin typeface="Calibri" panose="020F0502020204030204" pitchFamily="34" charset="0"/>
                <a:cs typeface="Arial" panose="020B0604020202020204" pitchFamily="34" charset="0"/>
              </a:rPr>
              <a:t>The FAO Pesticide Registration Toolkit developed  for regulators in countries with limited resources.  </a:t>
            </a:r>
          </a:p>
        </p:txBody>
      </p:sp>
      <p:pic>
        <p:nvPicPr>
          <p:cNvPr id="5" name="그림 %d 465" descr="A picture containing grass, sky, outdoor, kite&#10;&#10;Description automatically generated">
            <a:extLst>
              <a:ext uri="{FF2B5EF4-FFF2-40B4-BE49-F238E27FC236}">
                <a16:creationId xmlns:a16="http://schemas.microsoft.com/office/drawing/2014/main" id="{8EA77490-2AE8-FFE9-A2BC-DB2EB1E470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12" r="1"/>
          <a:stretch/>
        </p:blipFill>
        <p:spPr>
          <a:xfrm>
            <a:off x="6197601" y="1809392"/>
            <a:ext cx="5898100" cy="4278624"/>
          </a:xfrm>
          <a:prstGeom prst="rect">
            <a:avLst/>
          </a:pr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0D773F-7A7D-4DBB-9DEA-86BB8B8F4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381624" y="6209414"/>
            <a:ext cx="6810375" cy="648586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8035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FF47CB7-972F-479F-A36D-9E72D26EC8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153B68-5844-490D-8E67-F616D6D7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1766176" cy="2061837"/>
          </a:xfrm>
          <a:custGeom>
            <a:avLst/>
            <a:gdLst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13657 w 10768629"/>
              <a:gd name="connsiteY144" fmla="*/ 1730706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84330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0768629" h="1978172">
                <a:moveTo>
                  <a:pt x="0" y="0"/>
                </a:moveTo>
                <a:lnTo>
                  <a:pt x="10768629" y="0"/>
                </a:lnTo>
                <a:lnTo>
                  <a:pt x="10733254" y="31439"/>
                </a:lnTo>
                <a:lnTo>
                  <a:pt x="10727085" y="37910"/>
                </a:lnTo>
                <a:cubicBezTo>
                  <a:pt x="10712973" y="56080"/>
                  <a:pt x="10699457" y="78430"/>
                  <a:pt x="10675953" y="68623"/>
                </a:cubicBezTo>
                <a:cubicBezTo>
                  <a:pt x="10685972" y="89202"/>
                  <a:pt x="10641629" y="69781"/>
                  <a:pt x="10637091" y="90361"/>
                </a:cubicBezTo>
                <a:cubicBezTo>
                  <a:pt x="10635214" y="107005"/>
                  <a:pt x="10621323" y="104993"/>
                  <a:pt x="10610971" y="110764"/>
                </a:cubicBezTo>
                <a:cubicBezTo>
                  <a:pt x="10603980" y="127568"/>
                  <a:pt x="10551417" y="141180"/>
                  <a:pt x="10532872" y="138028"/>
                </a:cubicBezTo>
                <a:cubicBezTo>
                  <a:pt x="10480300" y="119072"/>
                  <a:pt x="10440532" y="186296"/>
                  <a:pt x="10398558" y="172911"/>
                </a:cubicBezTo>
                <a:cubicBezTo>
                  <a:pt x="10387708" y="174114"/>
                  <a:pt x="10378792" y="177646"/>
                  <a:pt x="10371128" y="182609"/>
                </a:cubicBezTo>
                <a:lnTo>
                  <a:pt x="10352178" y="199976"/>
                </a:lnTo>
                <a:lnTo>
                  <a:pt x="10351815" y="211879"/>
                </a:lnTo>
                <a:lnTo>
                  <a:pt x="10337471" y="218661"/>
                </a:lnTo>
                <a:lnTo>
                  <a:pt x="10334625" y="222351"/>
                </a:lnTo>
                <a:cubicBezTo>
                  <a:pt x="10321108" y="225227"/>
                  <a:pt x="10278615" y="228401"/>
                  <a:pt x="10256365" y="235917"/>
                </a:cubicBezTo>
                <a:cubicBezTo>
                  <a:pt x="10218136" y="258033"/>
                  <a:pt x="10224552" y="209685"/>
                  <a:pt x="10201127" y="267448"/>
                </a:cubicBezTo>
                <a:cubicBezTo>
                  <a:pt x="10121320" y="273476"/>
                  <a:pt x="10040763" y="345580"/>
                  <a:pt x="9961218" y="326720"/>
                </a:cubicBezTo>
                <a:cubicBezTo>
                  <a:pt x="9980173" y="341621"/>
                  <a:pt x="9883038" y="318484"/>
                  <a:pt x="9859715" y="355698"/>
                </a:cubicBezTo>
                <a:cubicBezTo>
                  <a:pt x="9812822" y="367758"/>
                  <a:pt x="9752089" y="383830"/>
                  <a:pt x="9679867" y="399081"/>
                </a:cubicBezTo>
                <a:cubicBezTo>
                  <a:pt x="9618357" y="415668"/>
                  <a:pt x="9525492" y="446315"/>
                  <a:pt x="9490654" y="455225"/>
                </a:cubicBezTo>
                <a:lnTo>
                  <a:pt x="9470837" y="452539"/>
                </a:lnTo>
                <a:lnTo>
                  <a:pt x="9469082" y="454891"/>
                </a:lnTo>
                <a:cubicBezTo>
                  <a:pt x="9460057" y="461184"/>
                  <a:pt x="9453495" y="461729"/>
                  <a:pt x="9448038" y="459733"/>
                </a:cubicBezTo>
                <a:lnTo>
                  <a:pt x="9396821" y="455795"/>
                </a:lnTo>
                <a:lnTo>
                  <a:pt x="9392197" y="459796"/>
                </a:lnTo>
                <a:lnTo>
                  <a:pt x="9347994" y="464462"/>
                </a:lnTo>
                <a:cubicBezTo>
                  <a:pt x="9347959" y="465155"/>
                  <a:pt x="9347925" y="465846"/>
                  <a:pt x="9347889" y="466539"/>
                </a:cubicBezTo>
                <a:cubicBezTo>
                  <a:pt x="9346648" y="471307"/>
                  <a:pt x="9343831" y="475025"/>
                  <a:pt x="9337639" y="476654"/>
                </a:cubicBezTo>
                <a:cubicBezTo>
                  <a:pt x="9354547" y="503661"/>
                  <a:pt x="9307720" y="510631"/>
                  <a:pt x="9287964" y="513052"/>
                </a:cubicBezTo>
                <a:cubicBezTo>
                  <a:pt x="9269905" y="526173"/>
                  <a:pt x="9245386" y="544358"/>
                  <a:pt x="9229283" y="555377"/>
                </a:cubicBezTo>
                <a:lnTo>
                  <a:pt x="9220274" y="557502"/>
                </a:lnTo>
                <a:cubicBezTo>
                  <a:pt x="9220250" y="557668"/>
                  <a:pt x="9220226" y="557835"/>
                  <a:pt x="9220202" y="558001"/>
                </a:cubicBezTo>
                <a:cubicBezTo>
                  <a:pt x="9218468" y="559434"/>
                  <a:pt x="9215591" y="560497"/>
                  <a:pt x="9210908" y="561147"/>
                </a:cubicBezTo>
                <a:lnTo>
                  <a:pt x="9186374" y="565502"/>
                </a:lnTo>
                <a:lnTo>
                  <a:pt x="9181058" y="569943"/>
                </a:lnTo>
                <a:lnTo>
                  <a:pt x="9167549" y="584727"/>
                </a:lnTo>
                <a:lnTo>
                  <a:pt x="9149110" y="598906"/>
                </a:lnTo>
                <a:cubicBezTo>
                  <a:pt x="9133575" y="594395"/>
                  <a:pt x="9087390" y="636567"/>
                  <a:pt x="9078556" y="644039"/>
                </a:cubicBezTo>
                <a:lnTo>
                  <a:pt x="8996399" y="690055"/>
                </a:lnTo>
                <a:cubicBezTo>
                  <a:pt x="8913147" y="777045"/>
                  <a:pt x="8867993" y="772591"/>
                  <a:pt x="8803791" y="813860"/>
                </a:cubicBezTo>
                <a:cubicBezTo>
                  <a:pt x="8745270" y="819906"/>
                  <a:pt x="8690049" y="823612"/>
                  <a:pt x="8636202" y="848463"/>
                </a:cubicBezTo>
                <a:cubicBezTo>
                  <a:pt x="8594799" y="860014"/>
                  <a:pt x="8568613" y="864779"/>
                  <a:pt x="8555372" y="883171"/>
                </a:cubicBezTo>
                <a:lnTo>
                  <a:pt x="8507229" y="901665"/>
                </a:lnTo>
                <a:lnTo>
                  <a:pt x="8428473" y="927985"/>
                </a:lnTo>
                <a:cubicBezTo>
                  <a:pt x="8428287" y="929817"/>
                  <a:pt x="8428100" y="931648"/>
                  <a:pt x="8427914" y="933480"/>
                </a:cubicBezTo>
                <a:lnTo>
                  <a:pt x="8420327" y="941984"/>
                </a:lnTo>
                <a:lnTo>
                  <a:pt x="8394729" y="948347"/>
                </a:lnTo>
                <a:lnTo>
                  <a:pt x="8380548" y="987916"/>
                </a:lnTo>
                <a:lnTo>
                  <a:pt x="8375330" y="965444"/>
                </a:lnTo>
                <a:cubicBezTo>
                  <a:pt x="8372375" y="964202"/>
                  <a:pt x="8344433" y="977378"/>
                  <a:pt x="8340796" y="980522"/>
                </a:cubicBezTo>
                <a:cubicBezTo>
                  <a:pt x="8328292" y="982128"/>
                  <a:pt x="8319237" y="991089"/>
                  <a:pt x="8304438" y="996739"/>
                </a:cubicBezTo>
                <a:cubicBezTo>
                  <a:pt x="8297193" y="1005683"/>
                  <a:pt x="8289328" y="1014568"/>
                  <a:pt x="8280929" y="1023089"/>
                </a:cubicBezTo>
                <a:lnTo>
                  <a:pt x="8275760" y="1027772"/>
                </a:lnTo>
                <a:lnTo>
                  <a:pt x="8275478" y="1027605"/>
                </a:lnTo>
                <a:cubicBezTo>
                  <a:pt x="8273970" y="1028076"/>
                  <a:pt x="8251461" y="1029408"/>
                  <a:pt x="8249003" y="1032033"/>
                </a:cubicBezTo>
                <a:lnTo>
                  <a:pt x="8203836" y="1037347"/>
                </a:lnTo>
                <a:cubicBezTo>
                  <a:pt x="8172789" y="1049890"/>
                  <a:pt x="8148166" y="1034625"/>
                  <a:pt x="8122936" y="1063113"/>
                </a:cubicBezTo>
                <a:cubicBezTo>
                  <a:pt x="8093850" y="1074757"/>
                  <a:pt x="8066781" y="1075350"/>
                  <a:pt x="8043658" y="1092746"/>
                </a:cubicBezTo>
                <a:cubicBezTo>
                  <a:pt x="8032157" y="1089174"/>
                  <a:pt x="8022145" y="1089998"/>
                  <a:pt x="8015351" y="1105478"/>
                </a:cubicBezTo>
                <a:cubicBezTo>
                  <a:pt x="7987544" y="1113006"/>
                  <a:pt x="7977708" y="1099152"/>
                  <a:pt x="7963145" y="1119346"/>
                </a:cubicBezTo>
                <a:cubicBezTo>
                  <a:pt x="7942622" y="1098880"/>
                  <a:pt x="7943760" y="1109516"/>
                  <a:pt x="7938145" y="1120225"/>
                </a:cubicBezTo>
                <a:lnTo>
                  <a:pt x="7937238" y="1121204"/>
                </a:lnTo>
                <a:lnTo>
                  <a:pt x="7934398" y="1118240"/>
                </a:lnTo>
                <a:lnTo>
                  <a:pt x="7918248" y="1124371"/>
                </a:lnTo>
                <a:lnTo>
                  <a:pt x="7914119" y="1127653"/>
                </a:lnTo>
                <a:cubicBezTo>
                  <a:pt x="7911201" y="1129547"/>
                  <a:pt x="7909169" y="1130331"/>
                  <a:pt x="7907658" y="1130350"/>
                </a:cubicBezTo>
                <a:lnTo>
                  <a:pt x="7907434" y="1130103"/>
                </a:lnTo>
                <a:lnTo>
                  <a:pt x="7901508" y="1133245"/>
                </a:lnTo>
                <a:cubicBezTo>
                  <a:pt x="7891644" y="1139271"/>
                  <a:pt x="7882185" y="1145815"/>
                  <a:pt x="7873287" y="1152609"/>
                </a:cubicBezTo>
                <a:cubicBezTo>
                  <a:pt x="7864672" y="1141906"/>
                  <a:pt x="7845199" y="1159242"/>
                  <a:pt x="7834833" y="1153868"/>
                </a:cubicBezTo>
                <a:lnTo>
                  <a:pt x="7828661" y="1139994"/>
                </a:lnTo>
                <a:lnTo>
                  <a:pt x="7823966" y="1143178"/>
                </a:lnTo>
                <a:lnTo>
                  <a:pt x="7815078" y="1151776"/>
                </a:lnTo>
                <a:cubicBezTo>
                  <a:pt x="7813692" y="1152943"/>
                  <a:pt x="7812687" y="1153116"/>
                  <a:pt x="7812026" y="1151522"/>
                </a:cubicBezTo>
                <a:cubicBezTo>
                  <a:pt x="7806555" y="1153054"/>
                  <a:pt x="7788673" y="1159989"/>
                  <a:pt x="7782249" y="1160970"/>
                </a:cubicBezTo>
                <a:lnTo>
                  <a:pt x="7773476" y="1157414"/>
                </a:lnTo>
                <a:lnTo>
                  <a:pt x="7769600" y="1157365"/>
                </a:lnTo>
                <a:lnTo>
                  <a:pt x="7752631" y="1172815"/>
                </a:lnTo>
                <a:lnTo>
                  <a:pt x="7739392" y="1192062"/>
                </a:lnTo>
                <a:lnTo>
                  <a:pt x="7677677" y="1216394"/>
                </a:lnTo>
                <a:lnTo>
                  <a:pt x="7586920" y="1261888"/>
                </a:lnTo>
                <a:cubicBezTo>
                  <a:pt x="7556723" y="1298911"/>
                  <a:pt x="7489187" y="1284518"/>
                  <a:pt x="7486100" y="1292563"/>
                </a:cubicBezTo>
                <a:cubicBezTo>
                  <a:pt x="7454875" y="1308356"/>
                  <a:pt x="7453335" y="1326361"/>
                  <a:pt x="7411323" y="1340732"/>
                </a:cubicBezTo>
                <a:cubicBezTo>
                  <a:pt x="7372519" y="1390006"/>
                  <a:pt x="7288617" y="1403664"/>
                  <a:pt x="7240698" y="1438832"/>
                </a:cubicBezTo>
                <a:cubicBezTo>
                  <a:pt x="7206467" y="1417136"/>
                  <a:pt x="7227555" y="1441678"/>
                  <a:pt x="7197675" y="1447530"/>
                </a:cubicBezTo>
                <a:cubicBezTo>
                  <a:pt x="7211601" y="1474927"/>
                  <a:pt x="7159483" y="1444981"/>
                  <a:pt x="7164788" y="1480293"/>
                </a:cubicBezTo>
                <a:cubicBezTo>
                  <a:pt x="7159184" y="1480240"/>
                  <a:pt x="7153584" y="1479075"/>
                  <a:pt x="7147929" y="1477641"/>
                </a:cubicBezTo>
                <a:lnTo>
                  <a:pt x="7144965" y="1476908"/>
                </a:lnTo>
                <a:lnTo>
                  <a:pt x="7134299" y="1479969"/>
                </a:lnTo>
                <a:lnTo>
                  <a:pt x="7129809" y="1473339"/>
                </a:lnTo>
                <a:lnTo>
                  <a:pt x="7112688" y="1472575"/>
                </a:lnTo>
                <a:cubicBezTo>
                  <a:pt x="7106506" y="1473449"/>
                  <a:pt x="7100123" y="1475741"/>
                  <a:pt x="7093470" y="1480300"/>
                </a:cubicBezTo>
                <a:cubicBezTo>
                  <a:pt x="7079039" y="1501274"/>
                  <a:pt x="7048991" y="1495718"/>
                  <a:pt x="7025034" y="1506934"/>
                </a:cubicBezTo>
                <a:lnTo>
                  <a:pt x="7014783" y="1515868"/>
                </a:lnTo>
                <a:lnTo>
                  <a:pt x="6979706" y="1523511"/>
                </a:lnTo>
                <a:lnTo>
                  <a:pt x="6977890" y="1525793"/>
                </a:lnTo>
                <a:cubicBezTo>
                  <a:pt x="6971996" y="1527914"/>
                  <a:pt x="6959488" y="1529941"/>
                  <a:pt x="6944339" y="1536237"/>
                </a:cubicBezTo>
                <a:lnTo>
                  <a:pt x="6886996" y="1563569"/>
                </a:lnTo>
                <a:lnTo>
                  <a:pt x="6874510" y="1558469"/>
                </a:lnTo>
                <a:lnTo>
                  <a:pt x="6871943" y="1554651"/>
                </a:lnTo>
                <a:lnTo>
                  <a:pt x="6856174" y="1562024"/>
                </a:lnTo>
                <a:lnTo>
                  <a:pt x="6842321" y="1560554"/>
                </a:lnTo>
                <a:lnTo>
                  <a:pt x="6832713" y="1569357"/>
                </a:lnTo>
                <a:lnTo>
                  <a:pt x="6816351" y="1571495"/>
                </a:lnTo>
                <a:cubicBezTo>
                  <a:pt x="6810216" y="1571510"/>
                  <a:pt x="6803310" y="1571324"/>
                  <a:pt x="6795800" y="1572010"/>
                </a:cubicBezTo>
                <a:lnTo>
                  <a:pt x="6777546" y="1568661"/>
                </a:lnTo>
                <a:lnTo>
                  <a:pt x="6751528" y="1574143"/>
                </a:lnTo>
                <a:cubicBezTo>
                  <a:pt x="6731455" y="1578562"/>
                  <a:pt x="6712054" y="1582098"/>
                  <a:pt x="6691966" y="1582255"/>
                </a:cubicBezTo>
                <a:cubicBezTo>
                  <a:pt x="6677921" y="1590738"/>
                  <a:pt x="6663787" y="1595441"/>
                  <a:pt x="6646941" y="1588471"/>
                </a:cubicBezTo>
                <a:cubicBezTo>
                  <a:pt x="6605135" y="1597971"/>
                  <a:pt x="6598373" y="1612583"/>
                  <a:pt x="6568576" y="1606488"/>
                </a:cubicBezTo>
                <a:cubicBezTo>
                  <a:pt x="6562510" y="1614734"/>
                  <a:pt x="6558067" y="1619360"/>
                  <a:pt x="6554358" y="1621701"/>
                </a:cubicBezTo>
                <a:cubicBezTo>
                  <a:pt x="6543227" y="1628727"/>
                  <a:pt x="6538724" y="1615196"/>
                  <a:pt x="6516968" y="1617195"/>
                </a:cubicBezTo>
                <a:cubicBezTo>
                  <a:pt x="6493173" y="1617368"/>
                  <a:pt x="6528193" y="1598652"/>
                  <a:pt x="6506479" y="1602227"/>
                </a:cubicBezTo>
                <a:cubicBezTo>
                  <a:pt x="6486674" y="1613929"/>
                  <a:pt x="6478484" y="1593997"/>
                  <a:pt x="6458436" y="1607332"/>
                </a:cubicBezTo>
                <a:cubicBezTo>
                  <a:pt x="6471168" y="1620800"/>
                  <a:pt x="6410323" y="1615478"/>
                  <a:pt x="6414786" y="1628815"/>
                </a:cubicBezTo>
                <a:cubicBezTo>
                  <a:pt x="6385942" y="1615041"/>
                  <a:pt x="6386569" y="1640238"/>
                  <a:pt x="6357085" y="1640846"/>
                </a:cubicBezTo>
                <a:cubicBezTo>
                  <a:pt x="6341163" y="1636809"/>
                  <a:pt x="6331497" y="1637754"/>
                  <a:pt x="6322636" y="1648213"/>
                </a:cubicBezTo>
                <a:cubicBezTo>
                  <a:pt x="6248448" y="1627802"/>
                  <a:pt x="6286748" y="1654976"/>
                  <a:pt x="6226172" y="1654676"/>
                </a:cubicBezTo>
                <a:lnTo>
                  <a:pt x="6221217" y="1654506"/>
                </a:lnTo>
                <a:lnTo>
                  <a:pt x="6204956" y="1664280"/>
                </a:lnTo>
                <a:cubicBezTo>
                  <a:pt x="6204728" y="1665114"/>
                  <a:pt x="6204498" y="1665947"/>
                  <a:pt x="6204270" y="1666782"/>
                </a:cubicBezTo>
                <a:lnTo>
                  <a:pt x="6143810" y="1661963"/>
                </a:lnTo>
                <a:lnTo>
                  <a:pt x="6136560" y="1665728"/>
                </a:lnTo>
                <a:lnTo>
                  <a:pt x="6096155" y="1656951"/>
                </a:lnTo>
                <a:lnTo>
                  <a:pt x="6075812" y="1655422"/>
                </a:lnTo>
                <a:lnTo>
                  <a:pt x="6039495" y="1649680"/>
                </a:lnTo>
                <a:lnTo>
                  <a:pt x="6036523" y="1652121"/>
                </a:lnTo>
                <a:lnTo>
                  <a:pt x="6029328" y="1649904"/>
                </a:lnTo>
                <a:lnTo>
                  <a:pt x="6024075" y="1652779"/>
                </a:lnTo>
                <a:lnTo>
                  <a:pt x="6018085" y="1652030"/>
                </a:lnTo>
                <a:cubicBezTo>
                  <a:pt x="6006658" y="1653831"/>
                  <a:pt x="5968194" y="1662035"/>
                  <a:pt x="5955513" y="1663584"/>
                </a:cubicBezTo>
                <a:lnTo>
                  <a:pt x="5941996" y="1661326"/>
                </a:lnTo>
                <a:lnTo>
                  <a:pt x="5931789" y="1669915"/>
                </a:lnTo>
                <a:lnTo>
                  <a:pt x="5888686" y="1672175"/>
                </a:lnTo>
                <a:lnTo>
                  <a:pt x="5873794" y="1665454"/>
                </a:lnTo>
                <a:lnTo>
                  <a:pt x="5860022" y="1660635"/>
                </a:lnTo>
                <a:lnTo>
                  <a:pt x="5858237" y="1660649"/>
                </a:lnTo>
                <a:lnTo>
                  <a:pt x="5840319" y="1660798"/>
                </a:lnTo>
                <a:lnTo>
                  <a:pt x="5806984" y="1661075"/>
                </a:lnTo>
                <a:cubicBezTo>
                  <a:pt x="5785708" y="1661533"/>
                  <a:pt x="5764126" y="1662974"/>
                  <a:pt x="5742351" y="1667489"/>
                </a:cubicBezTo>
                <a:cubicBezTo>
                  <a:pt x="5659069" y="1645168"/>
                  <a:pt x="5615134" y="1706361"/>
                  <a:pt x="5521171" y="1671626"/>
                </a:cubicBezTo>
                <a:cubicBezTo>
                  <a:pt x="5491803" y="1671296"/>
                  <a:pt x="5498089" y="1662666"/>
                  <a:pt x="5457384" y="1683952"/>
                </a:cubicBezTo>
                <a:cubicBezTo>
                  <a:pt x="5356959" y="1699287"/>
                  <a:pt x="5078905" y="1774579"/>
                  <a:pt x="4950070" y="1748401"/>
                </a:cubicBezTo>
                <a:cubicBezTo>
                  <a:pt x="4918276" y="1752255"/>
                  <a:pt x="4891043" y="1756936"/>
                  <a:pt x="4872172" y="1757222"/>
                </a:cubicBezTo>
                <a:lnTo>
                  <a:pt x="4809524" y="1761033"/>
                </a:lnTo>
                <a:cubicBezTo>
                  <a:pt x="4791324" y="1772975"/>
                  <a:pt x="4777258" y="1754591"/>
                  <a:pt x="4759058" y="1766533"/>
                </a:cubicBezTo>
                <a:cubicBezTo>
                  <a:pt x="4747481" y="1770744"/>
                  <a:pt x="4734604" y="1772921"/>
                  <a:pt x="4719749" y="1771811"/>
                </a:cubicBezTo>
                <a:cubicBezTo>
                  <a:pt x="4671168" y="1780243"/>
                  <a:pt x="4634134" y="1775931"/>
                  <a:pt x="4568686" y="1786141"/>
                </a:cubicBezTo>
                <a:cubicBezTo>
                  <a:pt x="4544667" y="1777910"/>
                  <a:pt x="4432547" y="1778168"/>
                  <a:pt x="4418751" y="1796932"/>
                </a:cubicBezTo>
                <a:cubicBezTo>
                  <a:pt x="4403360" y="1801488"/>
                  <a:pt x="4385278" y="1795746"/>
                  <a:pt x="4378377" y="1815528"/>
                </a:cubicBezTo>
                <a:cubicBezTo>
                  <a:pt x="4366870" y="1839461"/>
                  <a:pt x="4337372" y="1814003"/>
                  <a:pt x="4320575" y="1832722"/>
                </a:cubicBezTo>
                <a:cubicBezTo>
                  <a:pt x="4277898" y="1857053"/>
                  <a:pt x="4243945" y="1846759"/>
                  <a:pt x="4211935" y="1860177"/>
                </a:cubicBezTo>
                <a:cubicBezTo>
                  <a:pt x="4181519" y="1859584"/>
                  <a:pt x="4171342" y="1859762"/>
                  <a:pt x="4101228" y="1868717"/>
                </a:cubicBezTo>
                <a:cubicBezTo>
                  <a:pt x="4080159" y="1876188"/>
                  <a:pt x="4039427" y="1877381"/>
                  <a:pt x="3973223" y="1881015"/>
                </a:cubicBezTo>
                <a:cubicBezTo>
                  <a:pt x="3971330" y="1884974"/>
                  <a:pt x="3952843" y="1879225"/>
                  <a:pt x="3900992" y="1880603"/>
                </a:cubicBezTo>
                <a:cubicBezTo>
                  <a:pt x="3849141" y="1881981"/>
                  <a:pt x="3740060" y="1895686"/>
                  <a:pt x="3662119" y="1889285"/>
                </a:cubicBezTo>
                <a:cubicBezTo>
                  <a:pt x="3565155" y="1881322"/>
                  <a:pt x="3613412" y="1915150"/>
                  <a:pt x="3496919" y="1873180"/>
                </a:cubicBezTo>
                <a:cubicBezTo>
                  <a:pt x="3488062" y="1895719"/>
                  <a:pt x="3474293" y="1876288"/>
                  <a:pt x="3449433" y="1889681"/>
                </a:cubicBezTo>
                <a:cubicBezTo>
                  <a:pt x="3406553" y="1891629"/>
                  <a:pt x="3413217" y="1897797"/>
                  <a:pt x="3369766" y="1916653"/>
                </a:cubicBezTo>
                <a:cubicBezTo>
                  <a:pt x="3338805" y="1929531"/>
                  <a:pt x="3289487" y="1928617"/>
                  <a:pt x="3269672" y="1938036"/>
                </a:cubicBezTo>
                <a:lnTo>
                  <a:pt x="3224897" y="1943733"/>
                </a:lnTo>
                <a:cubicBezTo>
                  <a:pt x="3188693" y="1949271"/>
                  <a:pt x="3178540" y="1909145"/>
                  <a:pt x="3161463" y="1946591"/>
                </a:cubicBezTo>
                <a:lnTo>
                  <a:pt x="3112044" y="1935614"/>
                </a:lnTo>
                <a:lnTo>
                  <a:pt x="3069716" y="1930463"/>
                </a:lnTo>
                <a:cubicBezTo>
                  <a:pt x="3049937" y="1924285"/>
                  <a:pt x="3047816" y="1925644"/>
                  <a:pt x="3005773" y="1915878"/>
                </a:cubicBezTo>
                <a:cubicBezTo>
                  <a:pt x="2978838" y="1921092"/>
                  <a:pt x="2967972" y="1927319"/>
                  <a:pt x="2897201" y="1926772"/>
                </a:cubicBezTo>
                <a:lnTo>
                  <a:pt x="2783891" y="1931749"/>
                </a:lnTo>
                <a:cubicBezTo>
                  <a:pt x="2753098" y="1932794"/>
                  <a:pt x="2731621" y="1915151"/>
                  <a:pt x="2712447" y="1933044"/>
                </a:cubicBezTo>
                <a:cubicBezTo>
                  <a:pt x="2621923" y="1990472"/>
                  <a:pt x="2637976" y="1949546"/>
                  <a:pt x="2560151" y="1963609"/>
                </a:cubicBezTo>
                <a:cubicBezTo>
                  <a:pt x="2472084" y="1973456"/>
                  <a:pt x="2423631" y="1962133"/>
                  <a:pt x="2367221" y="1971884"/>
                </a:cubicBezTo>
                <a:cubicBezTo>
                  <a:pt x="2355331" y="1950582"/>
                  <a:pt x="2295649" y="1950006"/>
                  <a:pt x="2272130" y="1961162"/>
                </a:cubicBezTo>
                <a:cubicBezTo>
                  <a:pt x="2229336" y="1964326"/>
                  <a:pt x="2232627" y="1943953"/>
                  <a:pt x="2189404" y="1978172"/>
                </a:cubicBezTo>
                <a:cubicBezTo>
                  <a:pt x="2153824" y="1968017"/>
                  <a:pt x="2114605" y="1969166"/>
                  <a:pt x="2077704" y="1965002"/>
                </a:cubicBezTo>
                <a:cubicBezTo>
                  <a:pt x="2053064" y="1962036"/>
                  <a:pt x="2051584" y="1971011"/>
                  <a:pt x="2033299" y="1969042"/>
                </a:cubicBezTo>
                <a:cubicBezTo>
                  <a:pt x="2015014" y="1967073"/>
                  <a:pt x="1998956" y="1958903"/>
                  <a:pt x="1967996" y="1953187"/>
                </a:cubicBezTo>
                <a:cubicBezTo>
                  <a:pt x="1924117" y="1970917"/>
                  <a:pt x="1915668" y="1940297"/>
                  <a:pt x="1855805" y="1926082"/>
                </a:cubicBezTo>
                <a:cubicBezTo>
                  <a:pt x="1830663" y="1943732"/>
                  <a:pt x="1810564" y="1935694"/>
                  <a:pt x="1790957" y="1919460"/>
                </a:cubicBezTo>
                <a:cubicBezTo>
                  <a:pt x="1732588" y="1924884"/>
                  <a:pt x="1679506" y="1900619"/>
                  <a:pt x="1613978" y="1891581"/>
                </a:cubicBezTo>
                <a:cubicBezTo>
                  <a:pt x="1542961" y="1912227"/>
                  <a:pt x="1506863" y="1865666"/>
                  <a:pt x="1436831" y="1856201"/>
                </a:cubicBezTo>
                <a:cubicBezTo>
                  <a:pt x="1409149" y="1862955"/>
                  <a:pt x="1416370" y="1829853"/>
                  <a:pt x="1357365" y="1832140"/>
                </a:cubicBezTo>
                <a:cubicBezTo>
                  <a:pt x="1285880" y="1811785"/>
                  <a:pt x="1273193" y="1786872"/>
                  <a:pt x="1232341" y="1785942"/>
                </a:cubicBezTo>
                <a:cubicBezTo>
                  <a:pt x="1223903" y="1792798"/>
                  <a:pt x="1160576" y="1793911"/>
                  <a:pt x="1162595" y="1784330"/>
                </a:cubicBezTo>
                <a:cubicBezTo>
                  <a:pt x="1153167" y="1787110"/>
                  <a:pt x="1122206" y="1805077"/>
                  <a:pt x="1120257" y="1789615"/>
                </a:cubicBezTo>
                <a:cubicBezTo>
                  <a:pt x="1073149" y="1786750"/>
                  <a:pt x="1034361" y="1768718"/>
                  <a:pt x="991903" y="1786741"/>
                </a:cubicBezTo>
                <a:cubicBezTo>
                  <a:pt x="966383" y="1781126"/>
                  <a:pt x="949501" y="1800915"/>
                  <a:pt x="883960" y="1809389"/>
                </a:cubicBezTo>
                <a:cubicBezTo>
                  <a:pt x="836064" y="1808194"/>
                  <a:pt x="826980" y="1826610"/>
                  <a:pt x="766531" y="1805053"/>
                </a:cubicBezTo>
                <a:cubicBezTo>
                  <a:pt x="732778" y="1801141"/>
                  <a:pt x="694055" y="1787044"/>
                  <a:pt x="669779" y="1800537"/>
                </a:cubicBezTo>
                <a:cubicBezTo>
                  <a:pt x="645252" y="1794709"/>
                  <a:pt x="563495" y="1813232"/>
                  <a:pt x="523898" y="1811085"/>
                </a:cubicBezTo>
                <a:cubicBezTo>
                  <a:pt x="457555" y="1798530"/>
                  <a:pt x="395227" y="1824052"/>
                  <a:pt x="360251" y="1830735"/>
                </a:cubicBezTo>
                <a:cubicBezTo>
                  <a:pt x="313564" y="1825583"/>
                  <a:pt x="298281" y="1811622"/>
                  <a:pt x="255207" y="1818275"/>
                </a:cubicBezTo>
                <a:cubicBezTo>
                  <a:pt x="206572" y="1839769"/>
                  <a:pt x="160277" y="1836800"/>
                  <a:pt x="101803" y="1870647"/>
                </a:cubicBezTo>
                <a:cubicBezTo>
                  <a:pt x="85849" y="1910002"/>
                  <a:pt x="27997" y="1845258"/>
                  <a:pt x="25397" y="1888443"/>
                </a:cubicBezTo>
                <a:cubicBezTo>
                  <a:pt x="19096" y="1881154"/>
                  <a:pt x="11260" y="1878398"/>
                  <a:pt x="2370" y="1878311"/>
                </a:cubicBezTo>
                <a:lnTo>
                  <a:pt x="0" y="1878785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0D773F-7A7D-4DBB-9DEA-86BB8B8F4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381624" y="6209414"/>
            <a:ext cx="6810375" cy="648586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Textfeld 13">
            <a:extLst>
              <a:ext uri="{FF2B5EF4-FFF2-40B4-BE49-F238E27FC236}">
                <a16:creationId xmlns:a16="http://schemas.microsoft.com/office/drawing/2014/main" id="{ADB23707-24B4-9A2C-A9CA-E6EF42FEAC36}"/>
              </a:ext>
            </a:extLst>
          </p:cNvPr>
          <p:cNvSpPr txBox="1"/>
          <p:nvPr/>
        </p:nvSpPr>
        <p:spPr bwMode="gray">
          <a:xfrm>
            <a:off x="1630133" y="5317471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teering Committee</a:t>
            </a:r>
          </a:p>
        </p:txBody>
      </p:sp>
      <p:sp>
        <p:nvSpPr>
          <p:cNvPr id="39" name="Textfeld 4">
            <a:extLst>
              <a:ext uri="{FF2B5EF4-FFF2-40B4-BE49-F238E27FC236}">
                <a16:creationId xmlns:a16="http://schemas.microsoft.com/office/drawing/2014/main" id="{481B5009-3527-F75E-6F3E-63E065A5B6F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25824" y="597494"/>
            <a:ext cx="52274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CPPE-LMIC Initiative</a:t>
            </a:r>
          </a:p>
        </p:txBody>
      </p:sp>
      <p:sp>
        <p:nvSpPr>
          <p:cNvPr id="40" name="TextBox 17">
            <a:extLst>
              <a:ext uri="{FF2B5EF4-FFF2-40B4-BE49-F238E27FC236}">
                <a16:creationId xmlns:a16="http://schemas.microsoft.com/office/drawing/2014/main" id="{8456D3C9-8C1A-F9F2-7445-1C5F9AC86F46}"/>
              </a:ext>
            </a:extLst>
          </p:cNvPr>
          <p:cNvSpPr txBox="1"/>
          <p:nvPr/>
        </p:nvSpPr>
        <p:spPr>
          <a:xfrm>
            <a:off x="201327" y="2285503"/>
            <a:ext cx="6191118" cy="3700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oal: Improving Operator Safety in LMIC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eering Committee: Strategy and scoping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orking Groups: technical expertise and FAO/WHO observers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2000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comes: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914400" marR="0" lvl="1" indent="-3968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Calibri Light" panose="020F0302020204030204" pitchFamily="34" charset="0"/>
              <a:buChar char="̶"/>
              <a:tabLst/>
              <a:defRPr/>
            </a:pPr>
            <a:r>
              <a:rPr lang="en-US" sz="2000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lobal database with approx. fifty studies</a:t>
            </a:r>
          </a:p>
          <a:p>
            <a:pPr marL="914400" marR="0" lvl="1" indent="-3968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Calibri Light" panose="020F0302020204030204" pitchFamily="34" charset="0"/>
              <a:buChar char="̶"/>
              <a:tabLst/>
              <a:defRPr/>
            </a:pPr>
            <a:r>
              <a:rPr lang="en-US" sz="2000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rator exposure model for handheld applications </a:t>
            </a:r>
          </a:p>
          <a:p>
            <a:pPr marL="914400" marR="0" lvl="1" indent="-3968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Calibri Light" panose="020F0302020204030204" pitchFamily="34" charset="0"/>
              <a:buChar char="̶"/>
              <a:tabLst/>
              <a:defRPr/>
            </a:pPr>
            <a:r>
              <a:rPr lang="en-US" sz="2000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ment of risk assessment and mitigation too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o be proposed for FAO toolkit</a:t>
            </a:r>
            <a:r>
              <a:rPr lang="en-US" sz="2000" dirty="0">
                <a:latin typeface="+mj-lt"/>
                <a:ea typeface="+mj-ea"/>
                <a:cs typeface="+mj-cs"/>
              </a:rPr>
              <a:t> </a:t>
            </a:r>
            <a:endParaRPr lang="en-US" sz="2000" dirty="0">
              <a:solidFill>
                <a:srgbClr val="E7E6E6">
                  <a:lumMod val="50000"/>
                </a:srgb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4FE0BCE-901A-B27B-8F88-507D0821B52B}"/>
              </a:ext>
            </a:extLst>
          </p:cNvPr>
          <p:cNvGrpSpPr/>
          <p:nvPr/>
        </p:nvGrpSpPr>
        <p:grpSpPr>
          <a:xfrm>
            <a:off x="7016441" y="984251"/>
            <a:ext cx="4962647" cy="5106457"/>
            <a:chOff x="238361" y="838043"/>
            <a:chExt cx="4962647" cy="5106457"/>
          </a:xfrm>
        </p:grpSpPr>
        <p:sp>
          <p:nvSpPr>
            <p:cNvPr id="42" name="Rechteck 5">
              <a:extLst>
                <a:ext uri="{FF2B5EF4-FFF2-40B4-BE49-F238E27FC236}">
                  <a16:creationId xmlns:a16="http://schemas.microsoft.com/office/drawing/2014/main" id="{12DD36AC-0F1C-88D3-FC63-166040D20B2B}"/>
                </a:ext>
              </a:extLst>
            </p:cNvPr>
            <p:cNvSpPr/>
            <p:nvPr/>
          </p:nvSpPr>
          <p:spPr bwMode="gray">
            <a:xfrm>
              <a:off x="735400" y="2413512"/>
              <a:ext cx="1303760" cy="2582920"/>
            </a:xfrm>
            <a:prstGeom prst="rect">
              <a:avLst/>
            </a:prstGeom>
            <a:solidFill>
              <a:srgbClr val="10384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3" name="Rechteck 6">
              <a:extLst>
                <a:ext uri="{FF2B5EF4-FFF2-40B4-BE49-F238E27FC236}">
                  <a16:creationId xmlns:a16="http://schemas.microsoft.com/office/drawing/2014/main" id="{0005C284-F076-DC6A-765D-DAD9BCA1D38D}"/>
                </a:ext>
              </a:extLst>
            </p:cNvPr>
            <p:cNvSpPr/>
            <p:nvPr/>
          </p:nvSpPr>
          <p:spPr bwMode="gray">
            <a:xfrm>
              <a:off x="2094421" y="2413512"/>
              <a:ext cx="1303760" cy="2582920"/>
            </a:xfrm>
            <a:prstGeom prst="rect">
              <a:avLst/>
            </a:prstGeom>
            <a:solidFill>
              <a:srgbClr val="2175A5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4" name="Rechteck 7">
              <a:extLst>
                <a:ext uri="{FF2B5EF4-FFF2-40B4-BE49-F238E27FC236}">
                  <a16:creationId xmlns:a16="http://schemas.microsoft.com/office/drawing/2014/main" id="{E7A7EEE1-1AFA-E1F6-61D0-D6F9167A7486}"/>
                </a:ext>
              </a:extLst>
            </p:cNvPr>
            <p:cNvSpPr/>
            <p:nvPr/>
          </p:nvSpPr>
          <p:spPr bwMode="gray">
            <a:xfrm>
              <a:off x="3460530" y="2413512"/>
              <a:ext cx="1303760" cy="2582920"/>
            </a:xfrm>
            <a:prstGeom prst="rect">
              <a:avLst/>
            </a:prstGeom>
            <a:solidFill>
              <a:srgbClr val="52AAD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5" name="Rechteck 8">
              <a:extLst>
                <a:ext uri="{FF2B5EF4-FFF2-40B4-BE49-F238E27FC236}">
                  <a16:creationId xmlns:a16="http://schemas.microsoft.com/office/drawing/2014/main" id="{27DE0A03-09B0-04E0-656A-83B05A0862E8}"/>
                </a:ext>
              </a:extLst>
            </p:cNvPr>
            <p:cNvSpPr/>
            <p:nvPr/>
          </p:nvSpPr>
          <p:spPr bwMode="gray">
            <a:xfrm>
              <a:off x="381930" y="5033334"/>
              <a:ext cx="4794855" cy="911166"/>
            </a:xfrm>
            <a:prstGeom prst="rect">
              <a:avLst/>
            </a:prstGeom>
            <a:solidFill>
              <a:srgbClr val="000000">
                <a:lumMod val="95000"/>
                <a:lumOff val="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6" name="Gleichschenkliges Dreieck 9">
              <a:extLst>
                <a:ext uri="{FF2B5EF4-FFF2-40B4-BE49-F238E27FC236}">
                  <a16:creationId xmlns:a16="http://schemas.microsoft.com/office/drawing/2014/main" id="{21B3DD64-0EDE-6881-C961-BE0A33A0B7F5}"/>
                </a:ext>
              </a:extLst>
            </p:cNvPr>
            <p:cNvSpPr/>
            <p:nvPr/>
          </p:nvSpPr>
          <p:spPr bwMode="gray">
            <a:xfrm>
              <a:off x="238361" y="838043"/>
              <a:ext cx="4962647" cy="1598951"/>
            </a:xfrm>
            <a:prstGeom prst="triangle">
              <a:avLst/>
            </a:prstGeom>
            <a:solidFill>
              <a:srgbClr val="89D329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endParaRPr>
            </a:p>
          </p:txBody>
        </p:sp>
        <p:sp>
          <p:nvSpPr>
            <p:cNvPr id="47" name="Textfeld 10">
              <a:extLst>
                <a:ext uri="{FF2B5EF4-FFF2-40B4-BE49-F238E27FC236}">
                  <a16:creationId xmlns:a16="http://schemas.microsoft.com/office/drawing/2014/main" id="{482E4619-585E-6A89-8DFA-3012C95B474D}"/>
                </a:ext>
              </a:extLst>
            </p:cNvPr>
            <p:cNvSpPr txBox="1"/>
            <p:nvPr/>
          </p:nvSpPr>
          <p:spPr bwMode="gray">
            <a:xfrm>
              <a:off x="1093051" y="4658691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WG1</a:t>
              </a:r>
            </a:p>
          </p:txBody>
        </p:sp>
        <p:sp>
          <p:nvSpPr>
            <p:cNvPr id="48" name="Textfeld 11">
              <a:extLst>
                <a:ext uri="{FF2B5EF4-FFF2-40B4-BE49-F238E27FC236}">
                  <a16:creationId xmlns:a16="http://schemas.microsoft.com/office/drawing/2014/main" id="{245F2EE1-FD75-3D1C-830F-EC71BE0020D8}"/>
                </a:ext>
              </a:extLst>
            </p:cNvPr>
            <p:cNvSpPr txBox="1"/>
            <p:nvPr/>
          </p:nvSpPr>
          <p:spPr bwMode="gray">
            <a:xfrm>
              <a:off x="2500780" y="4647817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WG2</a:t>
              </a:r>
            </a:p>
          </p:txBody>
        </p:sp>
        <p:sp>
          <p:nvSpPr>
            <p:cNvPr id="49" name="Textfeld 12">
              <a:extLst>
                <a:ext uri="{FF2B5EF4-FFF2-40B4-BE49-F238E27FC236}">
                  <a16:creationId xmlns:a16="http://schemas.microsoft.com/office/drawing/2014/main" id="{3C97ED6B-912F-B589-A6C1-3A70C8D791DE}"/>
                </a:ext>
              </a:extLst>
            </p:cNvPr>
            <p:cNvSpPr txBox="1"/>
            <p:nvPr/>
          </p:nvSpPr>
          <p:spPr bwMode="gray">
            <a:xfrm>
              <a:off x="3804540" y="4660636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WG3</a:t>
              </a:r>
            </a:p>
          </p:txBody>
        </p:sp>
        <p:sp>
          <p:nvSpPr>
            <p:cNvPr id="50" name="Textfeld 14">
              <a:extLst>
                <a:ext uri="{FF2B5EF4-FFF2-40B4-BE49-F238E27FC236}">
                  <a16:creationId xmlns:a16="http://schemas.microsoft.com/office/drawing/2014/main" id="{71058404-79FB-6FEE-3E6B-6908362FECD0}"/>
                </a:ext>
              </a:extLst>
            </p:cNvPr>
            <p:cNvSpPr txBox="1"/>
            <p:nvPr/>
          </p:nvSpPr>
          <p:spPr bwMode="gray">
            <a:xfrm>
              <a:off x="2425957" y="1405187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WG 4</a:t>
              </a:r>
            </a:p>
          </p:txBody>
        </p:sp>
        <p:sp>
          <p:nvSpPr>
            <p:cNvPr id="51" name="Textfeld 15">
              <a:extLst>
                <a:ext uri="{FF2B5EF4-FFF2-40B4-BE49-F238E27FC236}">
                  <a16:creationId xmlns:a16="http://schemas.microsoft.com/office/drawing/2014/main" id="{B94AD1EE-E8B2-3F9A-B59F-1E113F2C1440}"/>
                </a:ext>
              </a:extLst>
            </p:cNvPr>
            <p:cNvSpPr txBox="1"/>
            <p:nvPr/>
          </p:nvSpPr>
          <p:spPr bwMode="gray">
            <a:xfrm>
              <a:off x="930080" y="3078902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Global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Database /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Operator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Exposur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Model</a:t>
              </a:r>
            </a:p>
          </p:txBody>
        </p:sp>
        <p:sp>
          <p:nvSpPr>
            <p:cNvPr id="52" name="Textfeld 16">
              <a:extLst>
                <a:ext uri="{FF2B5EF4-FFF2-40B4-BE49-F238E27FC236}">
                  <a16:creationId xmlns:a16="http://schemas.microsoft.com/office/drawing/2014/main" id="{5EC048EE-0305-061C-298E-D0206BF3F737}"/>
                </a:ext>
              </a:extLst>
            </p:cNvPr>
            <p:cNvSpPr txBox="1"/>
            <p:nvPr/>
          </p:nvSpPr>
          <p:spPr bwMode="gray">
            <a:xfrm>
              <a:off x="2322157" y="3078902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Dermal 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Absorption</a:t>
              </a:r>
            </a:p>
          </p:txBody>
        </p:sp>
        <p:sp>
          <p:nvSpPr>
            <p:cNvPr id="53" name="Textfeld 17">
              <a:extLst>
                <a:ext uri="{FF2B5EF4-FFF2-40B4-BE49-F238E27FC236}">
                  <a16:creationId xmlns:a16="http://schemas.microsoft.com/office/drawing/2014/main" id="{F252F716-690F-670E-6D3D-8986AE86DF1A}"/>
                </a:ext>
              </a:extLst>
            </p:cNvPr>
            <p:cNvSpPr txBox="1"/>
            <p:nvPr/>
          </p:nvSpPr>
          <p:spPr bwMode="gray">
            <a:xfrm>
              <a:off x="3718815" y="3096278"/>
              <a:ext cx="914400" cy="914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Personal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Protective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Equipme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(PPE)</a:t>
              </a:r>
            </a:p>
          </p:txBody>
        </p:sp>
        <p:sp>
          <p:nvSpPr>
            <p:cNvPr id="54" name="Textfeld 18">
              <a:extLst>
                <a:ext uri="{FF2B5EF4-FFF2-40B4-BE49-F238E27FC236}">
                  <a16:creationId xmlns:a16="http://schemas.microsoft.com/office/drawing/2014/main" id="{6C73C31E-3890-E8AD-F181-407EAAA62EB6}"/>
                </a:ext>
              </a:extLst>
            </p:cNvPr>
            <p:cNvSpPr txBox="1"/>
            <p:nvPr/>
          </p:nvSpPr>
          <p:spPr bwMode="gray">
            <a:xfrm>
              <a:off x="1514906" y="1771604"/>
              <a:ext cx="2690217" cy="48707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User-friendly Risk Assessmen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 Unicode MS"/>
                  <a:cs typeface="Arial"/>
                </a:rPr>
                <a:t> and Mitigation Tool</a:t>
              </a:r>
            </a:p>
          </p:txBody>
        </p:sp>
        <p:sp>
          <p:nvSpPr>
            <p:cNvPr id="55" name="Pfeil: nach unten 25">
              <a:extLst>
                <a:ext uri="{FF2B5EF4-FFF2-40B4-BE49-F238E27FC236}">
                  <a16:creationId xmlns:a16="http://schemas.microsoft.com/office/drawing/2014/main" id="{15CDCBA3-5549-B7D5-0317-B01E98E13024}"/>
                </a:ext>
              </a:extLst>
            </p:cNvPr>
            <p:cNvSpPr/>
            <p:nvPr/>
          </p:nvSpPr>
          <p:spPr>
            <a:xfrm rot="10800000">
              <a:off x="1262104" y="2224888"/>
              <a:ext cx="282203" cy="340256"/>
            </a:xfrm>
            <a:prstGeom prst="downArrow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feil: nach unten 26">
              <a:extLst>
                <a:ext uri="{FF2B5EF4-FFF2-40B4-BE49-F238E27FC236}">
                  <a16:creationId xmlns:a16="http://schemas.microsoft.com/office/drawing/2014/main" id="{1AD577E2-52E0-1843-8EB1-61E75CB7067B}"/>
                </a:ext>
              </a:extLst>
            </p:cNvPr>
            <p:cNvSpPr/>
            <p:nvPr/>
          </p:nvSpPr>
          <p:spPr>
            <a:xfrm rot="10800000">
              <a:off x="2635485" y="2224888"/>
              <a:ext cx="282203" cy="340256"/>
            </a:xfrm>
            <a:prstGeom prst="downArrow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feil: nach unten 27">
              <a:extLst>
                <a:ext uri="{FF2B5EF4-FFF2-40B4-BE49-F238E27FC236}">
                  <a16:creationId xmlns:a16="http://schemas.microsoft.com/office/drawing/2014/main" id="{46D3EEFE-EB67-073B-684B-2B683615FE28}"/>
                </a:ext>
              </a:extLst>
            </p:cNvPr>
            <p:cNvSpPr/>
            <p:nvPr/>
          </p:nvSpPr>
          <p:spPr>
            <a:xfrm rot="10800000">
              <a:off x="3890969" y="2212073"/>
              <a:ext cx="282203" cy="340256"/>
            </a:xfrm>
            <a:prstGeom prst="downArrow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8" name="Textfeld 13">
            <a:extLst>
              <a:ext uri="{FF2B5EF4-FFF2-40B4-BE49-F238E27FC236}">
                <a16:creationId xmlns:a16="http://schemas.microsoft.com/office/drawing/2014/main" id="{507A948C-96BB-53D0-6D27-8ECD8B2AC64B}"/>
              </a:ext>
            </a:extLst>
          </p:cNvPr>
          <p:cNvSpPr txBox="1"/>
          <p:nvPr/>
        </p:nvSpPr>
        <p:spPr bwMode="gray">
          <a:xfrm>
            <a:off x="8577376" y="5494905"/>
            <a:ext cx="2317367" cy="3431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teering Committee</a:t>
            </a:r>
          </a:p>
        </p:txBody>
      </p:sp>
    </p:spTree>
    <p:extLst>
      <p:ext uri="{BB962C8B-B14F-4D97-AF65-F5344CB8AC3E}">
        <p14:creationId xmlns:p14="http://schemas.microsoft.com/office/powerpoint/2010/main" val="3111516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FF47CB7-972F-479F-A36D-9E72D26EC8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153B68-5844-490D-8E67-F616D6D7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1766176" cy="2061837"/>
          </a:xfrm>
          <a:custGeom>
            <a:avLst/>
            <a:gdLst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13657 w 10768629"/>
              <a:gd name="connsiteY144" fmla="*/ 1730706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84330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0768629" h="1978172">
                <a:moveTo>
                  <a:pt x="0" y="0"/>
                </a:moveTo>
                <a:lnTo>
                  <a:pt x="10768629" y="0"/>
                </a:lnTo>
                <a:lnTo>
                  <a:pt x="10733254" y="31439"/>
                </a:lnTo>
                <a:lnTo>
                  <a:pt x="10727085" y="37910"/>
                </a:lnTo>
                <a:cubicBezTo>
                  <a:pt x="10712973" y="56080"/>
                  <a:pt x="10699457" y="78430"/>
                  <a:pt x="10675953" y="68623"/>
                </a:cubicBezTo>
                <a:cubicBezTo>
                  <a:pt x="10685972" y="89202"/>
                  <a:pt x="10641629" y="69781"/>
                  <a:pt x="10637091" y="90361"/>
                </a:cubicBezTo>
                <a:cubicBezTo>
                  <a:pt x="10635214" y="107005"/>
                  <a:pt x="10621323" y="104993"/>
                  <a:pt x="10610971" y="110764"/>
                </a:cubicBezTo>
                <a:cubicBezTo>
                  <a:pt x="10603980" y="127568"/>
                  <a:pt x="10551417" y="141180"/>
                  <a:pt x="10532872" y="138028"/>
                </a:cubicBezTo>
                <a:cubicBezTo>
                  <a:pt x="10480300" y="119072"/>
                  <a:pt x="10440532" y="186296"/>
                  <a:pt x="10398558" y="172911"/>
                </a:cubicBezTo>
                <a:cubicBezTo>
                  <a:pt x="10387708" y="174114"/>
                  <a:pt x="10378792" y="177646"/>
                  <a:pt x="10371128" y="182609"/>
                </a:cubicBezTo>
                <a:lnTo>
                  <a:pt x="10352178" y="199976"/>
                </a:lnTo>
                <a:lnTo>
                  <a:pt x="10351815" y="211879"/>
                </a:lnTo>
                <a:lnTo>
                  <a:pt x="10337471" y="218661"/>
                </a:lnTo>
                <a:lnTo>
                  <a:pt x="10334625" y="222351"/>
                </a:lnTo>
                <a:cubicBezTo>
                  <a:pt x="10321108" y="225227"/>
                  <a:pt x="10278615" y="228401"/>
                  <a:pt x="10256365" y="235917"/>
                </a:cubicBezTo>
                <a:cubicBezTo>
                  <a:pt x="10218136" y="258033"/>
                  <a:pt x="10224552" y="209685"/>
                  <a:pt x="10201127" y="267448"/>
                </a:cubicBezTo>
                <a:cubicBezTo>
                  <a:pt x="10121320" y="273476"/>
                  <a:pt x="10040763" y="345580"/>
                  <a:pt x="9961218" y="326720"/>
                </a:cubicBezTo>
                <a:cubicBezTo>
                  <a:pt x="9980173" y="341621"/>
                  <a:pt x="9883038" y="318484"/>
                  <a:pt x="9859715" y="355698"/>
                </a:cubicBezTo>
                <a:cubicBezTo>
                  <a:pt x="9812822" y="367758"/>
                  <a:pt x="9752089" y="383830"/>
                  <a:pt x="9679867" y="399081"/>
                </a:cubicBezTo>
                <a:cubicBezTo>
                  <a:pt x="9618357" y="415668"/>
                  <a:pt x="9525492" y="446315"/>
                  <a:pt x="9490654" y="455225"/>
                </a:cubicBezTo>
                <a:lnTo>
                  <a:pt x="9470837" y="452539"/>
                </a:lnTo>
                <a:lnTo>
                  <a:pt x="9469082" y="454891"/>
                </a:lnTo>
                <a:cubicBezTo>
                  <a:pt x="9460057" y="461184"/>
                  <a:pt x="9453495" y="461729"/>
                  <a:pt x="9448038" y="459733"/>
                </a:cubicBezTo>
                <a:lnTo>
                  <a:pt x="9396821" y="455795"/>
                </a:lnTo>
                <a:lnTo>
                  <a:pt x="9392197" y="459796"/>
                </a:lnTo>
                <a:lnTo>
                  <a:pt x="9347994" y="464462"/>
                </a:lnTo>
                <a:cubicBezTo>
                  <a:pt x="9347959" y="465155"/>
                  <a:pt x="9347925" y="465846"/>
                  <a:pt x="9347889" y="466539"/>
                </a:cubicBezTo>
                <a:cubicBezTo>
                  <a:pt x="9346648" y="471307"/>
                  <a:pt x="9343831" y="475025"/>
                  <a:pt x="9337639" y="476654"/>
                </a:cubicBezTo>
                <a:cubicBezTo>
                  <a:pt x="9354547" y="503661"/>
                  <a:pt x="9307720" y="510631"/>
                  <a:pt x="9287964" y="513052"/>
                </a:cubicBezTo>
                <a:cubicBezTo>
                  <a:pt x="9269905" y="526173"/>
                  <a:pt x="9245386" y="544358"/>
                  <a:pt x="9229283" y="555377"/>
                </a:cubicBezTo>
                <a:lnTo>
                  <a:pt x="9220274" y="557502"/>
                </a:lnTo>
                <a:cubicBezTo>
                  <a:pt x="9220250" y="557668"/>
                  <a:pt x="9220226" y="557835"/>
                  <a:pt x="9220202" y="558001"/>
                </a:cubicBezTo>
                <a:cubicBezTo>
                  <a:pt x="9218468" y="559434"/>
                  <a:pt x="9215591" y="560497"/>
                  <a:pt x="9210908" y="561147"/>
                </a:cubicBezTo>
                <a:lnTo>
                  <a:pt x="9186374" y="565502"/>
                </a:lnTo>
                <a:lnTo>
                  <a:pt x="9181058" y="569943"/>
                </a:lnTo>
                <a:lnTo>
                  <a:pt x="9167549" y="584727"/>
                </a:lnTo>
                <a:lnTo>
                  <a:pt x="9149110" y="598906"/>
                </a:lnTo>
                <a:cubicBezTo>
                  <a:pt x="9133575" y="594395"/>
                  <a:pt x="9087390" y="636567"/>
                  <a:pt x="9078556" y="644039"/>
                </a:cubicBezTo>
                <a:lnTo>
                  <a:pt x="8996399" y="690055"/>
                </a:lnTo>
                <a:cubicBezTo>
                  <a:pt x="8913147" y="777045"/>
                  <a:pt x="8867993" y="772591"/>
                  <a:pt x="8803791" y="813860"/>
                </a:cubicBezTo>
                <a:cubicBezTo>
                  <a:pt x="8745270" y="819906"/>
                  <a:pt x="8690049" y="823612"/>
                  <a:pt x="8636202" y="848463"/>
                </a:cubicBezTo>
                <a:cubicBezTo>
                  <a:pt x="8594799" y="860014"/>
                  <a:pt x="8568613" y="864779"/>
                  <a:pt x="8555372" y="883171"/>
                </a:cubicBezTo>
                <a:lnTo>
                  <a:pt x="8507229" y="901665"/>
                </a:lnTo>
                <a:lnTo>
                  <a:pt x="8428473" y="927985"/>
                </a:lnTo>
                <a:cubicBezTo>
                  <a:pt x="8428287" y="929817"/>
                  <a:pt x="8428100" y="931648"/>
                  <a:pt x="8427914" y="933480"/>
                </a:cubicBezTo>
                <a:lnTo>
                  <a:pt x="8420327" y="941984"/>
                </a:lnTo>
                <a:lnTo>
                  <a:pt x="8394729" y="948347"/>
                </a:lnTo>
                <a:lnTo>
                  <a:pt x="8380548" y="987916"/>
                </a:lnTo>
                <a:lnTo>
                  <a:pt x="8375330" y="965444"/>
                </a:lnTo>
                <a:cubicBezTo>
                  <a:pt x="8372375" y="964202"/>
                  <a:pt x="8344433" y="977378"/>
                  <a:pt x="8340796" y="980522"/>
                </a:cubicBezTo>
                <a:cubicBezTo>
                  <a:pt x="8328292" y="982128"/>
                  <a:pt x="8319237" y="991089"/>
                  <a:pt x="8304438" y="996739"/>
                </a:cubicBezTo>
                <a:cubicBezTo>
                  <a:pt x="8297193" y="1005683"/>
                  <a:pt x="8289328" y="1014568"/>
                  <a:pt x="8280929" y="1023089"/>
                </a:cubicBezTo>
                <a:lnTo>
                  <a:pt x="8275760" y="1027772"/>
                </a:lnTo>
                <a:lnTo>
                  <a:pt x="8275478" y="1027605"/>
                </a:lnTo>
                <a:cubicBezTo>
                  <a:pt x="8273970" y="1028076"/>
                  <a:pt x="8251461" y="1029408"/>
                  <a:pt x="8249003" y="1032033"/>
                </a:cubicBezTo>
                <a:lnTo>
                  <a:pt x="8203836" y="1037347"/>
                </a:lnTo>
                <a:cubicBezTo>
                  <a:pt x="8172789" y="1049890"/>
                  <a:pt x="8148166" y="1034625"/>
                  <a:pt x="8122936" y="1063113"/>
                </a:cubicBezTo>
                <a:cubicBezTo>
                  <a:pt x="8093850" y="1074757"/>
                  <a:pt x="8066781" y="1075350"/>
                  <a:pt x="8043658" y="1092746"/>
                </a:cubicBezTo>
                <a:cubicBezTo>
                  <a:pt x="8032157" y="1089174"/>
                  <a:pt x="8022145" y="1089998"/>
                  <a:pt x="8015351" y="1105478"/>
                </a:cubicBezTo>
                <a:cubicBezTo>
                  <a:pt x="7987544" y="1113006"/>
                  <a:pt x="7977708" y="1099152"/>
                  <a:pt x="7963145" y="1119346"/>
                </a:cubicBezTo>
                <a:cubicBezTo>
                  <a:pt x="7942622" y="1098880"/>
                  <a:pt x="7943760" y="1109516"/>
                  <a:pt x="7938145" y="1120225"/>
                </a:cubicBezTo>
                <a:lnTo>
                  <a:pt x="7937238" y="1121204"/>
                </a:lnTo>
                <a:lnTo>
                  <a:pt x="7934398" y="1118240"/>
                </a:lnTo>
                <a:lnTo>
                  <a:pt x="7918248" y="1124371"/>
                </a:lnTo>
                <a:lnTo>
                  <a:pt x="7914119" y="1127653"/>
                </a:lnTo>
                <a:cubicBezTo>
                  <a:pt x="7911201" y="1129547"/>
                  <a:pt x="7909169" y="1130331"/>
                  <a:pt x="7907658" y="1130350"/>
                </a:cubicBezTo>
                <a:lnTo>
                  <a:pt x="7907434" y="1130103"/>
                </a:lnTo>
                <a:lnTo>
                  <a:pt x="7901508" y="1133245"/>
                </a:lnTo>
                <a:cubicBezTo>
                  <a:pt x="7891644" y="1139271"/>
                  <a:pt x="7882185" y="1145815"/>
                  <a:pt x="7873287" y="1152609"/>
                </a:cubicBezTo>
                <a:cubicBezTo>
                  <a:pt x="7864672" y="1141906"/>
                  <a:pt x="7845199" y="1159242"/>
                  <a:pt x="7834833" y="1153868"/>
                </a:cubicBezTo>
                <a:lnTo>
                  <a:pt x="7828661" y="1139994"/>
                </a:lnTo>
                <a:lnTo>
                  <a:pt x="7823966" y="1143178"/>
                </a:lnTo>
                <a:lnTo>
                  <a:pt x="7815078" y="1151776"/>
                </a:lnTo>
                <a:cubicBezTo>
                  <a:pt x="7813692" y="1152943"/>
                  <a:pt x="7812687" y="1153116"/>
                  <a:pt x="7812026" y="1151522"/>
                </a:cubicBezTo>
                <a:cubicBezTo>
                  <a:pt x="7806555" y="1153054"/>
                  <a:pt x="7788673" y="1159989"/>
                  <a:pt x="7782249" y="1160970"/>
                </a:cubicBezTo>
                <a:lnTo>
                  <a:pt x="7773476" y="1157414"/>
                </a:lnTo>
                <a:lnTo>
                  <a:pt x="7769600" y="1157365"/>
                </a:lnTo>
                <a:lnTo>
                  <a:pt x="7752631" y="1172815"/>
                </a:lnTo>
                <a:lnTo>
                  <a:pt x="7739392" y="1192062"/>
                </a:lnTo>
                <a:lnTo>
                  <a:pt x="7677677" y="1216394"/>
                </a:lnTo>
                <a:lnTo>
                  <a:pt x="7586920" y="1261888"/>
                </a:lnTo>
                <a:cubicBezTo>
                  <a:pt x="7556723" y="1298911"/>
                  <a:pt x="7489187" y="1284518"/>
                  <a:pt x="7486100" y="1292563"/>
                </a:cubicBezTo>
                <a:cubicBezTo>
                  <a:pt x="7454875" y="1308356"/>
                  <a:pt x="7453335" y="1326361"/>
                  <a:pt x="7411323" y="1340732"/>
                </a:cubicBezTo>
                <a:cubicBezTo>
                  <a:pt x="7372519" y="1390006"/>
                  <a:pt x="7288617" y="1403664"/>
                  <a:pt x="7240698" y="1438832"/>
                </a:cubicBezTo>
                <a:cubicBezTo>
                  <a:pt x="7206467" y="1417136"/>
                  <a:pt x="7227555" y="1441678"/>
                  <a:pt x="7197675" y="1447530"/>
                </a:cubicBezTo>
                <a:cubicBezTo>
                  <a:pt x="7211601" y="1474927"/>
                  <a:pt x="7159483" y="1444981"/>
                  <a:pt x="7164788" y="1480293"/>
                </a:cubicBezTo>
                <a:cubicBezTo>
                  <a:pt x="7159184" y="1480240"/>
                  <a:pt x="7153584" y="1479075"/>
                  <a:pt x="7147929" y="1477641"/>
                </a:cubicBezTo>
                <a:lnTo>
                  <a:pt x="7144965" y="1476908"/>
                </a:lnTo>
                <a:lnTo>
                  <a:pt x="7134299" y="1479969"/>
                </a:lnTo>
                <a:lnTo>
                  <a:pt x="7129809" y="1473339"/>
                </a:lnTo>
                <a:lnTo>
                  <a:pt x="7112688" y="1472575"/>
                </a:lnTo>
                <a:cubicBezTo>
                  <a:pt x="7106506" y="1473449"/>
                  <a:pt x="7100123" y="1475741"/>
                  <a:pt x="7093470" y="1480300"/>
                </a:cubicBezTo>
                <a:cubicBezTo>
                  <a:pt x="7079039" y="1501274"/>
                  <a:pt x="7048991" y="1495718"/>
                  <a:pt x="7025034" y="1506934"/>
                </a:cubicBezTo>
                <a:lnTo>
                  <a:pt x="7014783" y="1515868"/>
                </a:lnTo>
                <a:lnTo>
                  <a:pt x="6979706" y="1523511"/>
                </a:lnTo>
                <a:lnTo>
                  <a:pt x="6977890" y="1525793"/>
                </a:lnTo>
                <a:cubicBezTo>
                  <a:pt x="6971996" y="1527914"/>
                  <a:pt x="6959488" y="1529941"/>
                  <a:pt x="6944339" y="1536237"/>
                </a:cubicBezTo>
                <a:lnTo>
                  <a:pt x="6886996" y="1563569"/>
                </a:lnTo>
                <a:lnTo>
                  <a:pt x="6874510" y="1558469"/>
                </a:lnTo>
                <a:lnTo>
                  <a:pt x="6871943" y="1554651"/>
                </a:lnTo>
                <a:lnTo>
                  <a:pt x="6856174" y="1562024"/>
                </a:lnTo>
                <a:lnTo>
                  <a:pt x="6842321" y="1560554"/>
                </a:lnTo>
                <a:lnTo>
                  <a:pt x="6832713" y="1569357"/>
                </a:lnTo>
                <a:lnTo>
                  <a:pt x="6816351" y="1571495"/>
                </a:lnTo>
                <a:cubicBezTo>
                  <a:pt x="6810216" y="1571510"/>
                  <a:pt x="6803310" y="1571324"/>
                  <a:pt x="6795800" y="1572010"/>
                </a:cubicBezTo>
                <a:lnTo>
                  <a:pt x="6777546" y="1568661"/>
                </a:lnTo>
                <a:lnTo>
                  <a:pt x="6751528" y="1574143"/>
                </a:lnTo>
                <a:cubicBezTo>
                  <a:pt x="6731455" y="1578562"/>
                  <a:pt x="6712054" y="1582098"/>
                  <a:pt x="6691966" y="1582255"/>
                </a:cubicBezTo>
                <a:cubicBezTo>
                  <a:pt x="6677921" y="1590738"/>
                  <a:pt x="6663787" y="1595441"/>
                  <a:pt x="6646941" y="1588471"/>
                </a:cubicBezTo>
                <a:cubicBezTo>
                  <a:pt x="6605135" y="1597971"/>
                  <a:pt x="6598373" y="1612583"/>
                  <a:pt x="6568576" y="1606488"/>
                </a:cubicBezTo>
                <a:cubicBezTo>
                  <a:pt x="6562510" y="1614734"/>
                  <a:pt x="6558067" y="1619360"/>
                  <a:pt x="6554358" y="1621701"/>
                </a:cubicBezTo>
                <a:cubicBezTo>
                  <a:pt x="6543227" y="1628727"/>
                  <a:pt x="6538724" y="1615196"/>
                  <a:pt x="6516968" y="1617195"/>
                </a:cubicBezTo>
                <a:cubicBezTo>
                  <a:pt x="6493173" y="1617368"/>
                  <a:pt x="6528193" y="1598652"/>
                  <a:pt x="6506479" y="1602227"/>
                </a:cubicBezTo>
                <a:cubicBezTo>
                  <a:pt x="6486674" y="1613929"/>
                  <a:pt x="6478484" y="1593997"/>
                  <a:pt x="6458436" y="1607332"/>
                </a:cubicBezTo>
                <a:cubicBezTo>
                  <a:pt x="6471168" y="1620800"/>
                  <a:pt x="6410323" y="1615478"/>
                  <a:pt x="6414786" y="1628815"/>
                </a:cubicBezTo>
                <a:cubicBezTo>
                  <a:pt x="6385942" y="1615041"/>
                  <a:pt x="6386569" y="1640238"/>
                  <a:pt x="6357085" y="1640846"/>
                </a:cubicBezTo>
                <a:cubicBezTo>
                  <a:pt x="6341163" y="1636809"/>
                  <a:pt x="6331497" y="1637754"/>
                  <a:pt x="6322636" y="1648213"/>
                </a:cubicBezTo>
                <a:cubicBezTo>
                  <a:pt x="6248448" y="1627802"/>
                  <a:pt x="6286748" y="1654976"/>
                  <a:pt x="6226172" y="1654676"/>
                </a:cubicBezTo>
                <a:lnTo>
                  <a:pt x="6221217" y="1654506"/>
                </a:lnTo>
                <a:lnTo>
                  <a:pt x="6204956" y="1664280"/>
                </a:lnTo>
                <a:cubicBezTo>
                  <a:pt x="6204728" y="1665114"/>
                  <a:pt x="6204498" y="1665947"/>
                  <a:pt x="6204270" y="1666782"/>
                </a:cubicBezTo>
                <a:lnTo>
                  <a:pt x="6143810" y="1661963"/>
                </a:lnTo>
                <a:lnTo>
                  <a:pt x="6136560" y="1665728"/>
                </a:lnTo>
                <a:lnTo>
                  <a:pt x="6096155" y="1656951"/>
                </a:lnTo>
                <a:lnTo>
                  <a:pt x="6075812" y="1655422"/>
                </a:lnTo>
                <a:lnTo>
                  <a:pt x="6039495" y="1649680"/>
                </a:lnTo>
                <a:lnTo>
                  <a:pt x="6036523" y="1652121"/>
                </a:lnTo>
                <a:lnTo>
                  <a:pt x="6029328" y="1649904"/>
                </a:lnTo>
                <a:lnTo>
                  <a:pt x="6024075" y="1652779"/>
                </a:lnTo>
                <a:lnTo>
                  <a:pt x="6018085" y="1652030"/>
                </a:lnTo>
                <a:cubicBezTo>
                  <a:pt x="6006658" y="1653831"/>
                  <a:pt x="5968194" y="1662035"/>
                  <a:pt x="5955513" y="1663584"/>
                </a:cubicBezTo>
                <a:lnTo>
                  <a:pt x="5941996" y="1661326"/>
                </a:lnTo>
                <a:lnTo>
                  <a:pt x="5931789" y="1669915"/>
                </a:lnTo>
                <a:lnTo>
                  <a:pt x="5888686" y="1672175"/>
                </a:lnTo>
                <a:lnTo>
                  <a:pt x="5873794" y="1665454"/>
                </a:lnTo>
                <a:lnTo>
                  <a:pt x="5860022" y="1660635"/>
                </a:lnTo>
                <a:lnTo>
                  <a:pt x="5858237" y="1660649"/>
                </a:lnTo>
                <a:lnTo>
                  <a:pt x="5840319" y="1660798"/>
                </a:lnTo>
                <a:lnTo>
                  <a:pt x="5806984" y="1661075"/>
                </a:lnTo>
                <a:cubicBezTo>
                  <a:pt x="5785708" y="1661533"/>
                  <a:pt x="5764126" y="1662974"/>
                  <a:pt x="5742351" y="1667489"/>
                </a:cubicBezTo>
                <a:cubicBezTo>
                  <a:pt x="5659069" y="1645168"/>
                  <a:pt x="5615134" y="1706361"/>
                  <a:pt x="5521171" y="1671626"/>
                </a:cubicBezTo>
                <a:cubicBezTo>
                  <a:pt x="5491803" y="1671296"/>
                  <a:pt x="5498089" y="1662666"/>
                  <a:pt x="5457384" y="1683952"/>
                </a:cubicBezTo>
                <a:cubicBezTo>
                  <a:pt x="5356959" y="1699287"/>
                  <a:pt x="5078905" y="1774579"/>
                  <a:pt x="4950070" y="1748401"/>
                </a:cubicBezTo>
                <a:cubicBezTo>
                  <a:pt x="4918276" y="1752255"/>
                  <a:pt x="4891043" y="1756936"/>
                  <a:pt x="4872172" y="1757222"/>
                </a:cubicBezTo>
                <a:lnTo>
                  <a:pt x="4809524" y="1761033"/>
                </a:lnTo>
                <a:cubicBezTo>
                  <a:pt x="4791324" y="1772975"/>
                  <a:pt x="4777258" y="1754591"/>
                  <a:pt x="4759058" y="1766533"/>
                </a:cubicBezTo>
                <a:cubicBezTo>
                  <a:pt x="4747481" y="1770744"/>
                  <a:pt x="4734604" y="1772921"/>
                  <a:pt x="4719749" y="1771811"/>
                </a:cubicBezTo>
                <a:cubicBezTo>
                  <a:pt x="4671168" y="1780243"/>
                  <a:pt x="4634134" y="1775931"/>
                  <a:pt x="4568686" y="1786141"/>
                </a:cubicBezTo>
                <a:cubicBezTo>
                  <a:pt x="4544667" y="1777910"/>
                  <a:pt x="4432547" y="1778168"/>
                  <a:pt x="4418751" y="1796932"/>
                </a:cubicBezTo>
                <a:cubicBezTo>
                  <a:pt x="4403360" y="1801488"/>
                  <a:pt x="4385278" y="1795746"/>
                  <a:pt x="4378377" y="1815528"/>
                </a:cubicBezTo>
                <a:cubicBezTo>
                  <a:pt x="4366870" y="1839461"/>
                  <a:pt x="4337372" y="1814003"/>
                  <a:pt x="4320575" y="1832722"/>
                </a:cubicBezTo>
                <a:cubicBezTo>
                  <a:pt x="4277898" y="1857053"/>
                  <a:pt x="4243945" y="1846759"/>
                  <a:pt x="4211935" y="1860177"/>
                </a:cubicBezTo>
                <a:cubicBezTo>
                  <a:pt x="4181519" y="1859584"/>
                  <a:pt x="4171342" y="1859762"/>
                  <a:pt x="4101228" y="1868717"/>
                </a:cubicBezTo>
                <a:cubicBezTo>
                  <a:pt x="4080159" y="1876188"/>
                  <a:pt x="4039427" y="1877381"/>
                  <a:pt x="3973223" y="1881015"/>
                </a:cubicBezTo>
                <a:cubicBezTo>
                  <a:pt x="3971330" y="1884974"/>
                  <a:pt x="3952843" y="1879225"/>
                  <a:pt x="3900992" y="1880603"/>
                </a:cubicBezTo>
                <a:cubicBezTo>
                  <a:pt x="3849141" y="1881981"/>
                  <a:pt x="3740060" y="1895686"/>
                  <a:pt x="3662119" y="1889285"/>
                </a:cubicBezTo>
                <a:cubicBezTo>
                  <a:pt x="3565155" y="1881322"/>
                  <a:pt x="3613412" y="1915150"/>
                  <a:pt x="3496919" y="1873180"/>
                </a:cubicBezTo>
                <a:cubicBezTo>
                  <a:pt x="3488062" y="1895719"/>
                  <a:pt x="3474293" y="1876288"/>
                  <a:pt x="3449433" y="1889681"/>
                </a:cubicBezTo>
                <a:cubicBezTo>
                  <a:pt x="3406553" y="1891629"/>
                  <a:pt x="3413217" y="1897797"/>
                  <a:pt x="3369766" y="1916653"/>
                </a:cubicBezTo>
                <a:cubicBezTo>
                  <a:pt x="3338805" y="1929531"/>
                  <a:pt x="3289487" y="1928617"/>
                  <a:pt x="3269672" y="1938036"/>
                </a:cubicBezTo>
                <a:lnTo>
                  <a:pt x="3224897" y="1943733"/>
                </a:lnTo>
                <a:cubicBezTo>
                  <a:pt x="3188693" y="1949271"/>
                  <a:pt x="3178540" y="1909145"/>
                  <a:pt x="3161463" y="1946591"/>
                </a:cubicBezTo>
                <a:lnTo>
                  <a:pt x="3112044" y="1935614"/>
                </a:lnTo>
                <a:lnTo>
                  <a:pt x="3069716" y="1930463"/>
                </a:lnTo>
                <a:cubicBezTo>
                  <a:pt x="3049937" y="1924285"/>
                  <a:pt x="3047816" y="1925644"/>
                  <a:pt x="3005773" y="1915878"/>
                </a:cubicBezTo>
                <a:cubicBezTo>
                  <a:pt x="2978838" y="1921092"/>
                  <a:pt x="2967972" y="1927319"/>
                  <a:pt x="2897201" y="1926772"/>
                </a:cubicBezTo>
                <a:lnTo>
                  <a:pt x="2783891" y="1931749"/>
                </a:lnTo>
                <a:cubicBezTo>
                  <a:pt x="2753098" y="1932794"/>
                  <a:pt x="2731621" y="1915151"/>
                  <a:pt x="2712447" y="1933044"/>
                </a:cubicBezTo>
                <a:cubicBezTo>
                  <a:pt x="2621923" y="1990472"/>
                  <a:pt x="2637976" y="1949546"/>
                  <a:pt x="2560151" y="1963609"/>
                </a:cubicBezTo>
                <a:cubicBezTo>
                  <a:pt x="2472084" y="1973456"/>
                  <a:pt x="2423631" y="1962133"/>
                  <a:pt x="2367221" y="1971884"/>
                </a:cubicBezTo>
                <a:cubicBezTo>
                  <a:pt x="2355331" y="1950582"/>
                  <a:pt x="2295649" y="1950006"/>
                  <a:pt x="2272130" y="1961162"/>
                </a:cubicBezTo>
                <a:cubicBezTo>
                  <a:pt x="2229336" y="1964326"/>
                  <a:pt x="2232627" y="1943953"/>
                  <a:pt x="2189404" y="1978172"/>
                </a:cubicBezTo>
                <a:cubicBezTo>
                  <a:pt x="2153824" y="1968017"/>
                  <a:pt x="2114605" y="1969166"/>
                  <a:pt x="2077704" y="1965002"/>
                </a:cubicBezTo>
                <a:cubicBezTo>
                  <a:pt x="2053064" y="1962036"/>
                  <a:pt x="2051584" y="1971011"/>
                  <a:pt x="2033299" y="1969042"/>
                </a:cubicBezTo>
                <a:cubicBezTo>
                  <a:pt x="2015014" y="1967073"/>
                  <a:pt x="1998956" y="1958903"/>
                  <a:pt x="1967996" y="1953187"/>
                </a:cubicBezTo>
                <a:cubicBezTo>
                  <a:pt x="1924117" y="1970917"/>
                  <a:pt x="1915668" y="1940297"/>
                  <a:pt x="1855805" y="1926082"/>
                </a:cubicBezTo>
                <a:cubicBezTo>
                  <a:pt x="1830663" y="1943732"/>
                  <a:pt x="1810564" y="1935694"/>
                  <a:pt x="1790957" y="1919460"/>
                </a:cubicBezTo>
                <a:cubicBezTo>
                  <a:pt x="1732588" y="1924884"/>
                  <a:pt x="1679506" y="1900619"/>
                  <a:pt x="1613978" y="1891581"/>
                </a:cubicBezTo>
                <a:cubicBezTo>
                  <a:pt x="1542961" y="1912227"/>
                  <a:pt x="1506863" y="1865666"/>
                  <a:pt x="1436831" y="1856201"/>
                </a:cubicBezTo>
                <a:cubicBezTo>
                  <a:pt x="1409149" y="1862955"/>
                  <a:pt x="1416370" y="1829853"/>
                  <a:pt x="1357365" y="1832140"/>
                </a:cubicBezTo>
                <a:cubicBezTo>
                  <a:pt x="1285880" y="1811785"/>
                  <a:pt x="1273193" y="1786872"/>
                  <a:pt x="1232341" y="1785942"/>
                </a:cubicBezTo>
                <a:cubicBezTo>
                  <a:pt x="1223903" y="1792798"/>
                  <a:pt x="1160576" y="1793911"/>
                  <a:pt x="1162595" y="1784330"/>
                </a:cubicBezTo>
                <a:cubicBezTo>
                  <a:pt x="1153167" y="1787110"/>
                  <a:pt x="1122206" y="1805077"/>
                  <a:pt x="1120257" y="1789615"/>
                </a:cubicBezTo>
                <a:cubicBezTo>
                  <a:pt x="1073149" y="1786750"/>
                  <a:pt x="1034361" y="1768718"/>
                  <a:pt x="991903" y="1786741"/>
                </a:cubicBezTo>
                <a:cubicBezTo>
                  <a:pt x="966383" y="1781126"/>
                  <a:pt x="949501" y="1800915"/>
                  <a:pt x="883960" y="1809389"/>
                </a:cubicBezTo>
                <a:cubicBezTo>
                  <a:pt x="836064" y="1808194"/>
                  <a:pt x="826980" y="1826610"/>
                  <a:pt x="766531" y="1805053"/>
                </a:cubicBezTo>
                <a:cubicBezTo>
                  <a:pt x="732778" y="1801141"/>
                  <a:pt x="694055" y="1787044"/>
                  <a:pt x="669779" y="1800537"/>
                </a:cubicBezTo>
                <a:cubicBezTo>
                  <a:pt x="645252" y="1794709"/>
                  <a:pt x="563495" y="1813232"/>
                  <a:pt x="523898" y="1811085"/>
                </a:cubicBezTo>
                <a:cubicBezTo>
                  <a:pt x="457555" y="1798530"/>
                  <a:pt x="395227" y="1824052"/>
                  <a:pt x="360251" y="1830735"/>
                </a:cubicBezTo>
                <a:cubicBezTo>
                  <a:pt x="313564" y="1825583"/>
                  <a:pt x="298281" y="1811622"/>
                  <a:pt x="255207" y="1818275"/>
                </a:cubicBezTo>
                <a:cubicBezTo>
                  <a:pt x="206572" y="1839769"/>
                  <a:pt x="160277" y="1836800"/>
                  <a:pt x="101803" y="1870647"/>
                </a:cubicBezTo>
                <a:cubicBezTo>
                  <a:pt x="85849" y="1910002"/>
                  <a:pt x="27997" y="1845258"/>
                  <a:pt x="25397" y="1888443"/>
                </a:cubicBezTo>
                <a:cubicBezTo>
                  <a:pt x="19096" y="1881154"/>
                  <a:pt x="11260" y="1878398"/>
                  <a:pt x="2370" y="1878311"/>
                </a:cubicBezTo>
                <a:lnTo>
                  <a:pt x="0" y="1878785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C906950-6D88-3A8D-6F77-6B543F2BB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336" y="464815"/>
            <a:ext cx="9392421" cy="1330841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PPE for Risk Mitigation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0D773F-7A7D-4DBB-9DEA-86BB8B8F4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381624" y="6209414"/>
            <a:ext cx="6810375" cy="648586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8A37BBB1-E1D5-AC5B-E65B-3255D97BCEA6}"/>
              </a:ext>
            </a:extLst>
          </p:cNvPr>
          <p:cNvSpPr txBox="1"/>
          <p:nvPr/>
        </p:nvSpPr>
        <p:spPr>
          <a:xfrm>
            <a:off x="110203" y="2237096"/>
            <a:ext cx="7809151" cy="44905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itigation – A bridge between risk assessment and risk management</a:t>
            </a: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orking Group 3 consists of a diverse group of experts </a:t>
            </a:r>
          </a:p>
          <a:p>
            <a:pPr marL="914400" marR="0" lvl="1" indent="-3968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Calibri Light" panose="020F0302020204030204" pitchFamily="34" charset="0"/>
              <a:buChar char="̶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isk assessors – operator exposure data analysis </a:t>
            </a:r>
          </a:p>
          <a:p>
            <a:pPr marL="914400" marR="0" lvl="1" indent="-3968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Calibri Light" panose="020F0302020204030204" pitchFamily="34" charset="0"/>
              <a:buChar char="̶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PE experts – PPE  performance and certification</a:t>
            </a:r>
          </a:p>
          <a:p>
            <a:pPr marL="914400" marR="0" lvl="1" indent="-3968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Calibri Light" panose="020F0302020204030204" pitchFamily="34" charset="0"/>
              <a:buChar char="̶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isk managers – regulators and industry experts</a:t>
            </a:r>
          </a:p>
          <a:p>
            <a:pPr marL="457200" indent="-396875">
              <a:lnSpc>
                <a:spcPct val="107000"/>
              </a:lnSpc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000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b-groups to address specific issues, including user acceptance. </a:t>
            </a:r>
          </a:p>
          <a:p>
            <a:pPr marL="457200" indent="-396875">
              <a:lnSpc>
                <a:spcPct val="107000"/>
              </a:lnSpc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000" b="1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ser acceptance </a:t>
            </a:r>
            <a:r>
              <a:rPr lang="en-US" sz="2000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s crucial for adoption of PPE</a:t>
            </a:r>
          </a:p>
          <a:p>
            <a:pPr marL="914400" marR="0" lvl="1" indent="-3968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Calibri Light" panose="020F0302020204030204" pitchFamily="34" charset="0"/>
              <a:buChar char="̶"/>
              <a:tabLst/>
              <a:defRPr/>
            </a:pPr>
            <a:r>
              <a:rPr lang="en-US" sz="2000" dirty="0">
                <a:solidFill>
                  <a:srgbClr val="E7E6E6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g</a:t>
            </a:r>
            <a:r>
              <a:rPr lang="en-US" sz="2000" dirty="0">
                <a:latin typeface="+mj-lt"/>
                <a:ea typeface="+mj-ea"/>
                <a:cs typeface="+mj-cs"/>
              </a:rPr>
              <a:t>lobal framework for efficient and consistent data collection</a:t>
            </a:r>
          </a:p>
          <a:p>
            <a:pPr marL="914400" marR="0" lvl="1" indent="-3968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Calibri Light" panose="020F0302020204030204" pitchFamily="34" charset="0"/>
              <a:buChar char="̶"/>
              <a:tabLst/>
              <a:defRPr/>
            </a:pPr>
            <a:r>
              <a:rPr lang="en-US" sz="2000" dirty="0">
                <a:latin typeface="+mj-lt"/>
                <a:ea typeface="+mj-ea"/>
                <a:cs typeface="+mj-cs"/>
              </a:rPr>
              <a:t>As grassroots approach to engage “local” experts and farmers </a:t>
            </a:r>
          </a:p>
          <a:p>
            <a:pPr marL="914400" marR="0" lvl="1" indent="-3968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Calibri Light" panose="020F0302020204030204" pitchFamily="34" charset="0"/>
              <a:buChar char="̶"/>
              <a:tabLst/>
              <a:defRPr/>
            </a:pPr>
            <a:r>
              <a:rPr lang="en-US" sz="2000" dirty="0">
                <a:latin typeface="+mj-lt"/>
                <a:ea typeface="+mj-ea"/>
                <a:cs typeface="+mj-cs"/>
              </a:rPr>
              <a:t>Coordination at the global and “local” level </a:t>
            </a:r>
          </a:p>
          <a:p>
            <a:pPr marL="914400" marR="0" lvl="1" indent="-396875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Calibri Light" panose="020F0302020204030204" pitchFamily="34" charset="0"/>
              <a:buChar char="̶"/>
              <a:tabLst/>
              <a:defRPr/>
            </a:pPr>
            <a:r>
              <a:rPr lang="en-US" sz="2000" dirty="0">
                <a:latin typeface="+mj-lt"/>
                <a:ea typeface="+mj-ea"/>
                <a:cs typeface="+mj-cs"/>
              </a:rPr>
              <a:t>Kenya – case study country for the ICPPE/LMIC initiative 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517525" marR="0" lvl="1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tabLst/>
              <a:defRPr/>
            </a:pPr>
            <a:endParaRPr lang="en-US" sz="2800" b="1" dirty="0">
              <a:solidFill>
                <a:srgbClr val="E7E6E6">
                  <a:lumMod val="50000"/>
                </a:srgbClr>
              </a:solidFill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FB81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hteck 5">
            <a:extLst>
              <a:ext uri="{FF2B5EF4-FFF2-40B4-BE49-F238E27FC236}">
                <a16:creationId xmlns:a16="http://schemas.microsoft.com/office/drawing/2014/main" id="{172BABC5-D94D-5C6A-305D-C0EF1F78F85B}"/>
              </a:ext>
            </a:extLst>
          </p:cNvPr>
          <p:cNvSpPr/>
          <p:nvPr/>
        </p:nvSpPr>
        <p:spPr bwMode="gray">
          <a:xfrm>
            <a:off x="8208174" y="2700670"/>
            <a:ext cx="1112023" cy="2303721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9" name="Rechteck 6">
            <a:extLst>
              <a:ext uri="{FF2B5EF4-FFF2-40B4-BE49-F238E27FC236}">
                <a16:creationId xmlns:a16="http://schemas.microsoft.com/office/drawing/2014/main" id="{DB2D4DF1-CF5E-5813-7618-802C459E468F}"/>
              </a:ext>
            </a:extLst>
          </p:cNvPr>
          <p:cNvSpPr/>
          <p:nvPr/>
        </p:nvSpPr>
        <p:spPr bwMode="gray">
          <a:xfrm>
            <a:off x="9395686" y="2700670"/>
            <a:ext cx="1112023" cy="2307664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0" name="Rechteck 7">
            <a:extLst>
              <a:ext uri="{FF2B5EF4-FFF2-40B4-BE49-F238E27FC236}">
                <a16:creationId xmlns:a16="http://schemas.microsoft.com/office/drawing/2014/main" id="{80A36C90-1A12-0C87-907E-116E7DDA9E34}"/>
              </a:ext>
            </a:extLst>
          </p:cNvPr>
          <p:cNvSpPr/>
          <p:nvPr/>
        </p:nvSpPr>
        <p:spPr bwMode="gray">
          <a:xfrm>
            <a:off x="10576273" y="2691106"/>
            <a:ext cx="1112023" cy="2317228"/>
          </a:xfrm>
          <a:prstGeom prst="rect">
            <a:avLst/>
          </a:prstGeom>
          <a:solidFill>
            <a:srgbClr val="52AAD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1" name="Rechteck 8">
            <a:extLst>
              <a:ext uri="{FF2B5EF4-FFF2-40B4-BE49-F238E27FC236}">
                <a16:creationId xmlns:a16="http://schemas.microsoft.com/office/drawing/2014/main" id="{A2AC6B02-8AB0-654B-2FFA-4D83BD101240}"/>
              </a:ext>
            </a:extLst>
          </p:cNvPr>
          <p:cNvSpPr/>
          <p:nvPr/>
        </p:nvSpPr>
        <p:spPr bwMode="gray">
          <a:xfrm>
            <a:off x="8203811" y="5048544"/>
            <a:ext cx="3484485" cy="657815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2" name="Gleichschenkliges Dreieck 9">
            <a:extLst>
              <a:ext uri="{FF2B5EF4-FFF2-40B4-BE49-F238E27FC236}">
                <a16:creationId xmlns:a16="http://schemas.microsoft.com/office/drawing/2014/main" id="{DD10B3B0-800A-3144-8504-CBEF8CDDA66B}"/>
              </a:ext>
            </a:extLst>
          </p:cNvPr>
          <p:cNvSpPr/>
          <p:nvPr/>
        </p:nvSpPr>
        <p:spPr bwMode="gray">
          <a:xfrm>
            <a:off x="7848980" y="1272579"/>
            <a:ext cx="4232817" cy="1434475"/>
          </a:xfrm>
          <a:prstGeom prst="triangle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 Unicode MS"/>
              <a:cs typeface="Arial"/>
            </a:endParaRPr>
          </a:p>
        </p:txBody>
      </p:sp>
      <p:sp>
        <p:nvSpPr>
          <p:cNvPr id="14" name="Textfeld 10">
            <a:extLst>
              <a:ext uri="{FF2B5EF4-FFF2-40B4-BE49-F238E27FC236}">
                <a16:creationId xmlns:a16="http://schemas.microsoft.com/office/drawing/2014/main" id="{6014B468-F693-431D-7630-1BEC3E215B6E}"/>
              </a:ext>
            </a:extLst>
          </p:cNvPr>
          <p:cNvSpPr txBox="1"/>
          <p:nvPr/>
        </p:nvSpPr>
        <p:spPr bwMode="gray">
          <a:xfrm>
            <a:off x="8344253" y="4693213"/>
            <a:ext cx="779924" cy="8203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G1</a:t>
            </a:r>
          </a:p>
        </p:txBody>
      </p:sp>
      <p:sp>
        <p:nvSpPr>
          <p:cNvPr id="16" name="Textfeld 11">
            <a:extLst>
              <a:ext uri="{FF2B5EF4-FFF2-40B4-BE49-F238E27FC236}">
                <a16:creationId xmlns:a16="http://schemas.microsoft.com/office/drawing/2014/main" id="{D1821867-CC80-D32E-76DC-76DA493AA579}"/>
              </a:ext>
            </a:extLst>
          </p:cNvPr>
          <p:cNvSpPr txBox="1"/>
          <p:nvPr/>
        </p:nvSpPr>
        <p:spPr bwMode="gray">
          <a:xfrm>
            <a:off x="9751982" y="4682339"/>
            <a:ext cx="779924" cy="8203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G2</a:t>
            </a:r>
          </a:p>
        </p:txBody>
      </p:sp>
      <p:sp>
        <p:nvSpPr>
          <p:cNvPr id="18" name="Textfeld 12">
            <a:extLst>
              <a:ext uri="{FF2B5EF4-FFF2-40B4-BE49-F238E27FC236}">
                <a16:creationId xmlns:a16="http://schemas.microsoft.com/office/drawing/2014/main" id="{AC34C764-2761-E8A7-C556-E2BAD3859771}"/>
              </a:ext>
            </a:extLst>
          </p:cNvPr>
          <p:cNvSpPr txBox="1"/>
          <p:nvPr/>
        </p:nvSpPr>
        <p:spPr bwMode="gray">
          <a:xfrm>
            <a:off x="11055742" y="4695158"/>
            <a:ext cx="779924" cy="8203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G3</a:t>
            </a:r>
          </a:p>
        </p:txBody>
      </p:sp>
      <p:sp>
        <p:nvSpPr>
          <p:cNvPr id="19" name="Textfeld 13">
            <a:extLst>
              <a:ext uri="{FF2B5EF4-FFF2-40B4-BE49-F238E27FC236}">
                <a16:creationId xmlns:a16="http://schemas.microsoft.com/office/drawing/2014/main" id="{CA1A0515-4DDE-F146-DF67-A7A15722E005}"/>
              </a:ext>
            </a:extLst>
          </p:cNvPr>
          <p:cNvSpPr txBox="1"/>
          <p:nvPr/>
        </p:nvSpPr>
        <p:spPr bwMode="gray">
          <a:xfrm>
            <a:off x="8115375" y="5291511"/>
            <a:ext cx="3484486" cy="6578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Steering Committee</a:t>
            </a:r>
          </a:p>
        </p:txBody>
      </p:sp>
      <p:sp>
        <p:nvSpPr>
          <p:cNvPr id="20" name="Textfeld 15">
            <a:extLst>
              <a:ext uri="{FF2B5EF4-FFF2-40B4-BE49-F238E27FC236}">
                <a16:creationId xmlns:a16="http://schemas.microsoft.com/office/drawing/2014/main" id="{F4FFE046-39F8-7474-9B1C-F61843BCE0E4}"/>
              </a:ext>
            </a:extLst>
          </p:cNvPr>
          <p:cNvSpPr txBox="1"/>
          <p:nvPr/>
        </p:nvSpPr>
        <p:spPr bwMode="gray">
          <a:xfrm>
            <a:off x="8345594" y="3184864"/>
            <a:ext cx="779924" cy="8203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Global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Database /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Operat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xpos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Model</a:t>
            </a:r>
          </a:p>
        </p:txBody>
      </p:sp>
      <p:sp>
        <p:nvSpPr>
          <p:cNvPr id="21" name="Textfeld 16">
            <a:extLst>
              <a:ext uri="{FF2B5EF4-FFF2-40B4-BE49-F238E27FC236}">
                <a16:creationId xmlns:a16="http://schemas.microsoft.com/office/drawing/2014/main" id="{85497A5E-5DAE-6CB2-B560-C2D6916C1318}"/>
              </a:ext>
            </a:extLst>
          </p:cNvPr>
          <p:cNvSpPr txBox="1"/>
          <p:nvPr/>
        </p:nvSpPr>
        <p:spPr bwMode="gray">
          <a:xfrm>
            <a:off x="9559074" y="3184864"/>
            <a:ext cx="779924" cy="8203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Dermal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Absorption</a:t>
            </a:r>
          </a:p>
        </p:txBody>
      </p:sp>
      <p:sp>
        <p:nvSpPr>
          <p:cNvPr id="22" name="Textfeld 17">
            <a:extLst>
              <a:ext uri="{FF2B5EF4-FFF2-40B4-BE49-F238E27FC236}">
                <a16:creationId xmlns:a16="http://schemas.microsoft.com/office/drawing/2014/main" id="{E2B8F1D5-0B8B-EAF8-5808-DBD325A6E4AD}"/>
              </a:ext>
            </a:extLst>
          </p:cNvPr>
          <p:cNvSpPr txBox="1"/>
          <p:nvPr/>
        </p:nvSpPr>
        <p:spPr bwMode="gray">
          <a:xfrm>
            <a:off x="10798562" y="3202240"/>
            <a:ext cx="779924" cy="82034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Person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Protectiv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Equip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(PPE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D8E9287-AFB6-FB77-1938-4154DEC9B6FA}"/>
              </a:ext>
            </a:extLst>
          </p:cNvPr>
          <p:cNvSpPr txBox="1"/>
          <p:nvPr/>
        </p:nvSpPr>
        <p:spPr>
          <a:xfrm>
            <a:off x="8383476" y="2046064"/>
            <a:ext cx="321638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User-friendly Risk Assess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 and Mitigation Tool</a:t>
            </a:r>
          </a:p>
        </p:txBody>
      </p:sp>
      <p:sp>
        <p:nvSpPr>
          <p:cNvPr id="4" name="Textfeld 14">
            <a:extLst>
              <a:ext uri="{FF2B5EF4-FFF2-40B4-BE49-F238E27FC236}">
                <a16:creationId xmlns:a16="http://schemas.microsoft.com/office/drawing/2014/main" id="{E1E59B98-48E6-0520-660F-E966166C425B}"/>
              </a:ext>
            </a:extLst>
          </p:cNvPr>
          <p:cNvSpPr txBox="1"/>
          <p:nvPr/>
        </p:nvSpPr>
        <p:spPr bwMode="gray">
          <a:xfrm>
            <a:off x="9684744" y="174920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 Unicode MS"/>
                <a:cs typeface="Arial"/>
              </a:rPr>
              <a:t>WG 4</a:t>
            </a:r>
          </a:p>
        </p:txBody>
      </p:sp>
    </p:spTree>
    <p:extLst>
      <p:ext uri="{BB962C8B-B14F-4D97-AF65-F5344CB8AC3E}">
        <p14:creationId xmlns:p14="http://schemas.microsoft.com/office/powerpoint/2010/main" val="32819216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FF47CB7-972F-479F-A36D-9E72D26EC8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153B68-5844-490D-8E67-F616D6D7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1766176" cy="2061837"/>
          </a:xfrm>
          <a:custGeom>
            <a:avLst/>
            <a:gdLst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13657 w 10768629"/>
              <a:gd name="connsiteY144" fmla="*/ 1730706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84330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0768629" h="1978172">
                <a:moveTo>
                  <a:pt x="0" y="0"/>
                </a:moveTo>
                <a:lnTo>
                  <a:pt x="10768629" y="0"/>
                </a:lnTo>
                <a:lnTo>
                  <a:pt x="10733254" y="31439"/>
                </a:lnTo>
                <a:lnTo>
                  <a:pt x="10727085" y="37910"/>
                </a:lnTo>
                <a:cubicBezTo>
                  <a:pt x="10712973" y="56080"/>
                  <a:pt x="10699457" y="78430"/>
                  <a:pt x="10675953" y="68623"/>
                </a:cubicBezTo>
                <a:cubicBezTo>
                  <a:pt x="10685972" y="89202"/>
                  <a:pt x="10641629" y="69781"/>
                  <a:pt x="10637091" y="90361"/>
                </a:cubicBezTo>
                <a:cubicBezTo>
                  <a:pt x="10635214" y="107005"/>
                  <a:pt x="10621323" y="104993"/>
                  <a:pt x="10610971" y="110764"/>
                </a:cubicBezTo>
                <a:cubicBezTo>
                  <a:pt x="10603980" y="127568"/>
                  <a:pt x="10551417" y="141180"/>
                  <a:pt x="10532872" y="138028"/>
                </a:cubicBezTo>
                <a:cubicBezTo>
                  <a:pt x="10480300" y="119072"/>
                  <a:pt x="10440532" y="186296"/>
                  <a:pt x="10398558" y="172911"/>
                </a:cubicBezTo>
                <a:cubicBezTo>
                  <a:pt x="10387708" y="174114"/>
                  <a:pt x="10378792" y="177646"/>
                  <a:pt x="10371128" y="182609"/>
                </a:cubicBezTo>
                <a:lnTo>
                  <a:pt x="10352178" y="199976"/>
                </a:lnTo>
                <a:lnTo>
                  <a:pt x="10351815" y="211879"/>
                </a:lnTo>
                <a:lnTo>
                  <a:pt x="10337471" y="218661"/>
                </a:lnTo>
                <a:lnTo>
                  <a:pt x="10334625" y="222351"/>
                </a:lnTo>
                <a:cubicBezTo>
                  <a:pt x="10321108" y="225227"/>
                  <a:pt x="10278615" y="228401"/>
                  <a:pt x="10256365" y="235917"/>
                </a:cubicBezTo>
                <a:cubicBezTo>
                  <a:pt x="10218136" y="258033"/>
                  <a:pt x="10224552" y="209685"/>
                  <a:pt x="10201127" y="267448"/>
                </a:cubicBezTo>
                <a:cubicBezTo>
                  <a:pt x="10121320" y="273476"/>
                  <a:pt x="10040763" y="345580"/>
                  <a:pt x="9961218" y="326720"/>
                </a:cubicBezTo>
                <a:cubicBezTo>
                  <a:pt x="9980173" y="341621"/>
                  <a:pt x="9883038" y="318484"/>
                  <a:pt x="9859715" y="355698"/>
                </a:cubicBezTo>
                <a:cubicBezTo>
                  <a:pt x="9812822" y="367758"/>
                  <a:pt x="9752089" y="383830"/>
                  <a:pt x="9679867" y="399081"/>
                </a:cubicBezTo>
                <a:cubicBezTo>
                  <a:pt x="9618357" y="415668"/>
                  <a:pt x="9525492" y="446315"/>
                  <a:pt x="9490654" y="455225"/>
                </a:cubicBezTo>
                <a:lnTo>
                  <a:pt x="9470837" y="452539"/>
                </a:lnTo>
                <a:lnTo>
                  <a:pt x="9469082" y="454891"/>
                </a:lnTo>
                <a:cubicBezTo>
                  <a:pt x="9460057" y="461184"/>
                  <a:pt x="9453495" y="461729"/>
                  <a:pt x="9448038" y="459733"/>
                </a:cubicBezTo>
                <a:lnTo>
                  <a:pt x="9396821" y="455795"/>
                </a:lnTo>
                <a:lnTo>
                  <a:pt x="9392197" y="459796"/>
                </a:lnTo>
                <a:lnTo>
                  <a:pt x="9347994" y="464462"/>
                </a:lnTo>
                <a:cubicBezTo>
                  <a:pt x="9347959" y="465155"/>
                  <a:pt x="9347925" y="465846"/>
                  <a:pt x="9347889" y="466539"/>
                </a:cubicBezTo>
                <a:cubicBezTo>
                  <a:pt x="9346648" y="471307"/>
                  <a:pt x="9343831" y="475025"/>
                  <a:pt x="9337639" y="476654"/>
                </a:cubicBezTo>
                <a:cubicBezTo>
                  <a:pt x="9354547" y="503661"/>
                  <a:pt x="9307720" y="510631"/>
                  <a:pt x="9287964" y="513052"/>
                </a:cubicBezTo>
                <a:cubicBezTo>
                  <a:pt x="9269905" y="526173"/>
                  <a:pt x="9245386" y="544358"/>
                  <a:pt x="9229283" y="555377"/>
                </a:cubicBezTo>
                <a:lnTo>
                  <a:pt x="9220274" y="557502"/>
                </a:lnTo>
                <a:cubicBezTo>
                  <a:pt x="9220250" y="557668"/>
                  <a:pt x="9220226" y="557835"/>
                  <a:pt x="9220202" y="558001"/>
                </a:cubicBezTo>
                <a:cubicBezTo>
                  <a:pt x="9218468" y="559434"/>
                  <a:pt x="9215591" y="560497"/>
                  <a:pt x="9210908" y="561147"/>
                </a:cubicBezTo>
                <a:lnTo>
                  <a:pt x="9186374" y="565502"/>
                </a:lnTo>
                <a:lnTo>
                  <a:pt x="9181058" y="569943"/>
                </a:lnTo>
                <a:lnTo>
                  <a:pt x="9167549" y="584727"/>
                </a:lnTo>
                <a:lnTo>
                  <a:pt x="9149110" y="598906"/>
                </a:lnTo>
                <a:cubicBezTo>
                  <a:pt x="9133575" y="594395"/>
                  <a:pt x="9087390" y="636567"/>
                  <a:pt x="9078556" y="644039"/>
                </a:cubicBezTo>
                <a:lnTo>
                  <a:pt x="8996399" y="690055"/>
                </a:lnTo>
                <a:cubicBezTo>
                  <a:pt x="8913147" y="777045"/>
                  <a:pt x="8867993" y="772591"/>
                  <a:pt x="8803791" y="813860"/>
                </a:cubicBezTo>
                <a:cubicBezTo>
                  <a:pt x="8745270" y="819906"/>
                  <a:pt x="8690049" y="823612"/>
                  <a:pt x="8636202" y="848463"/>
                </a:cubicBezTo>
                <a:cubicBezTo>
                  <a:pt x="8594799" y="860014"/>
                  <a:pt x="8568613" y="864779"/>
                  <a:pt x="8555372" y="883171"/>
                </a:cubicBezTo>
                <a:lnTo>
                  <a:pt x="8507229" y="901665"/>
                </a:lnTo>
                <a:lnTo>
                  <a:pt x="8428473" y="927985"/>
                </a:lnTo>
                <a:cubicBezTo>
                  <a:pt x="8428287" y="929817"/>
                  <a:pt x="8428100" y="931648"/>
                  <a:pt x="8427914" y="933480"/>
                </a:cubicBezTo>
                <a:lnTo>
                  <a:pt x="8420327" y="941984"/>
                </a:lnTo>
                <a:lnTo>
                  <a:pt x="8394729" y="948347"/>
                </a:lnTo>
                <a:lnTo>
                  <a:pt x="8380548" y="987916"/>
                </a:lnTo>
                <a:lnTo>
                  <a:pt x="8375330" y="965444"/>
                </a:lnTo>
                <a:cubicBezTo>
                  <a:pt x="8372375" y="964202"/>
                  <a:pt x="8344433" y="977378"/>
                  <a:pt x="8340796" y="980522"/>
                </a:cubicBezTo>
                <a:cubicBezTo>
                  <a:pt x="8328292" y="982128"/>
                  <a:pt x="8319237" y="991089"/>
                  <a:pt x="8304438" y="996739"/>
                </a:cubicBezTo>
                <a:cubicBezTo>
                  <a:pt x="8297193" y="1005683"/>
                  <a:pt x="8289328" y="1014568"/>
                  <a:pt x="8280929" y="1023089"/>
                </a:cubicBezTo>
                <a:lnTo>
                  <a:pt x="8275760" y="1027772"/>
                </a:lnTo>
                <a:lnTo>
                  <a:pt x="8275478" y="1027605"/>
                </a:lnTo>
                <a:cubicBezTo>
                  <a:pt x="8273970" y="1028076"/>
                  <a:pt x="8251461" y="1029408"/>
                  <a:pt x="8249003" y="1032033"/>
                </a:cubicBezTo>
                <a:lnTo>
                  <a:pt x="8203836" y="1037347"/>
                </a:lnTo>
                <a:cubicBezTo>
                  <a:pt x="8172789" y="1049890"/>
                  <a:pt x="8148166" y="1034625"/>
                  <a:pt x="8122936" y="1063113"/>
                </a:cubicBezTo>
                <a:cubicBezTo>
                  <a:pt x="8093850" y="1074757"/>
                  <a:pt x="8066781" y="1075350"/>
                  <a:pt x="8043658" y="1092746"/>
                </a:cubicBezTo>
                <a:cubicBezTo>
                  <a:pt x="8032157" y="1089174"/>
                  <a:pt x="8022145" y="1089998"/>
                  <a:pt x="8015351" y="1105478"/>
                </a:cubicBezTo>
                <a:cubicBezTo>
                  <a:pt x="7987544" y="1113006"/>
                  <a:pt x="7977708" y="1099152"/>
                  <a:pt x="7963145" y="1119346"/>
                </a:cubicBezTo>
                <a:cubicBezTo>
                  <a:pt x="7942622" y="1098880"/>
                  <a:pt x="7943760" y="1109516"/>
                  <a:pt x="7938145" y="1120225"/>
                </a:cubicBezTo>
                <a:lnTo>
                  <a:pt x="7937238" y="1121204"/>
                </a:lnTo>
                <a:lnTo>
                  <a:pt x="7934398" y="1118240"/>
                </a:lnTo>
                <a:lnTo>
                  <a:pt x="7918248" y="1124371"/>
                </a:lnTo>
                <a:lnTo>
                  <a:pt x="7914119" y="1127653"/>
                </a:lnTo>
                <a:cubicBezTo>
                  <a:pt x="7911201" y="1129547"/>
                  <a:pt x="7909169" y="1130331"/>
                  <a:pt x="7907658" y="1130350"/>
                </a:cubicBezTo>
                <a:lnTo>
                  <a:pt x="7907434" y="1130103"/>
                </a:lnTo>
                <a:lnTo>
                  <a:pt x="7901508" y="1133245"/>
                </a:lnTo>
                <a:cubicBezTo>
                  <a:pt x="7891644" y="1139271"/>
                  <a:pt x="7882185" y="1145815"/>
                  <a:pt x="7873287" y="1152609"/>
                </a:cubicBezTo>
                <a:cubicBezTo>
                  <a:pt x="7864672" y="1141906"/>
                  <a:pt x="7845199" y="1159242"/>
                  <a:pt x="7834833" y="1153868"/>
                </a:cubicBezTo>
                <a:lnTo>
                  <a:pt x="7828661" y="1139994"/>
                </a:lnTo>
                <a:lnTo>
                  <a:pt x="7823966" y="1143178"/>
                </a:lnTo>
                <a:lnTo>
                  <a:pt x="7815078" y="1151776"/>
                </a:lnTo>
                <a:cubicBezTo>
                  <a:pt x="7813692" y="1152943"/>
                  <a:pt x="7812687" y="1153116"/>
                  <a:pt x="7812026" y="1151522"/>
                </a:cubicBezTo>
                <a:cubicBezTo>
                  <a:pt x="7806555" y="1153054"/>
                  <a:pt x="7788673" y="1159989"/>
                  <a:pt x="7782249" y="1160970"/>
                </a:cubicBezTo>
                <a:lnTo>
                  <a:pt x="7773476" y="1157414"/>
                </a:lnTo>
                <a:lnTo>
                  <a:pt x="7769600" y="1157365"/>
                </a:lnTo>
                <a:lnTo>
                  <a:pt x="7752631" y="1172815"/>
                </a:lnTo>
                <a:lnTo>
                  <a:pt x="7739392" y="1192062"/>
                </a:lnTo>
                <a:lnTo>
                  <a:pt x="7677677" y="1216394"/>
                </a:lnTo>
                <a:lnTo>
                  <a:pt x="7586920" y="1261888"/>
                </a:lnTo>
                <a:cubicBezTo>
                  <a:pt x="7556723" y="1298911"/>
                  <a:pt x="7489187" y="1284518"/>
                  <a:pt x="7486100" y="1292563"/>
                </a:cubicBezTo>
                <a:cubicBezTo>
                  <a:pt x="7454875" y="1308356"/>
                  <a:pt x="7453335" y="1326361"/>
                  <a:pt x="7411323" y="1340732"/>
                </a:cubicBezTo>
                <a:cubicBezTo>
                  <a:pt x="7372519" y="1390006"/>
                  <a:pt x="7288617" y="1403664"/>
                  <a:pt x="7240698" y="1438832"/>
                </a:cubicBezTo>
                <a:cubicBezTo>
                  <a:pt x="7206467" y="1417136"/>
                  <a:pt x="7227555" y="1441678"/>
                  <a:pt x="7197675" y="1447530"/>
                </a:cubicBezTo>
                <a:cubicBezTo>
                  <a:pt x="7211601" y="1474927"/>
                  <a:pt x="7159483" y="1444981"/>
                  <a:pt x="7164788" y="1480293"/>
                </a:cubicBezTo>
                <a:cubicBezTo>
                  <a:pt x="7159184" y="1480240"/>
                  <a:pt x="7153584" y="1479075"/>
                  <a:pt x="7147929" y="1477641"/>
                </a:cubicBezTo>
                <a:lnTo>
                  <a:pt x="7144965" y="1476908"/>
                </a:lnTo>
                <a:lnTo>
                  <a:pt x="7134299" y="1479969"/>
                </a:lnTo>
                <a:lnTo>
                  <a:pt x="7129809" y="1473339"/>
                </a:lnTo>
                <a:lnTo>
                  <a:pt x="7112688" y="1472575"/>
                </a:lnTo>
                <a:cubicBezTo>
                  <a:pt x="7106506" y="1473449"/>
                  <a:pt x="7100123" y="1475741"/>
                  <a:pt x="7093470" y="1480300"/>
                </a:cubicBezTo>
                <a:cubicBezTo>
                  <a:pt x="7079039" y="1501274"/>
                  <a:pt x="7048991" y="1495718"/>
                  <a:pt x="7025034" y="1506934"/>
                </a:cubicBezTo>
                <a:lnTo>
                  <a:pt x="7014783" y="1515868"/>
                </a:lnTo>
                <a:lnTo>
                  <a:pt x="6979706" y="1523511"/>
                </a:lnTo>
                <a:lnTo>
                  <a:pt x="6977890" y="1525793"/>
                </a:lnTo>
                <a:cubicBezTo>
                  <a:pt x="6971996" y="1527914"/>
                  <a:pt x="6959488" y="1529941"/>
                  <a:pt x="6944339" y="1536237"/>
                </a:cubicBezTo>
                <a:lnTo>
                  <a:pt x="6886996" y="1563569"/>
                </a:lnTo>
                <a:lnTo>
                  <a:pt x="6874510" y="1558469"/>
                </a:lnTo>
                <a:lnTo>
                  <a:pt x="6871943" y="1554651"/>
                </a:lnTo>
                <a:lnTo>
                  <a:pt x="6856174" y="1562024"/>
                </a:lnTo>
                <a:lnTo>
                  <a:pt x="6842321" y="1560554"/>
                </a:lnTo>
                <a:lnTo>
                  <a:pt x="6832713" y="1569357"/>
                </a:lnTo>
                <a:lnTo>
                  <a:pt x="6816351" y="1571495"/>
                </a:lnTo>
                <a:cubicBezTo>
                  <a:pt x="6810216" y="1571510"/>
                  <a:pt x="6803310" y="1571324"/>
                  <a:pt x="6795800" y="1572010"/>
                </a:cubicBezTo>
                <a:lnTo>
                  <a:pt x="6777546" y="1568661"/>
                </a:lnTo>
                <a:lnTo>
                  <a:pt x="6751528" y="1574143"/>
                </a:lnTo>
                <a:cubicBezTo>
                  <a:pt x="6731455" y="1578562"/>
                  <a:pt x="6712054" y="1582098"/>
                  <a:pt x="6691966" y="1582255"/>
                </a:cubicBezTo>
                <a:cubicBezTo>
                  <a:pt x="6677921" y="1590738"/>
                  <a:pt x="6663787" y="1595441"/>
                  <a:pt x="6646941" y="1588471"/>
                </a:cubicBezTo>
                <a:cubicBezTo>
                  <a:pt x="6605135" y="1597971"/>
                  <a:pt x="6598373" y="1612583"/>
                  <a:pt x="6568576" y="1606488"/>
                </a:cubicBezTo>
                <a:cubicBezTo>
                  <a:pt x="6562510" y="1614734"/>
                  <a:pt x="6558067" y="1619360"/>
                  <a:pt x="6554358" y="1621701"/>
                </a:cubicBezTo>
                <a:cubicBezTo>
                  <a:pt x="6543227" y="1628727"/>
                  <a:pt x="6538724" y="1615196"/>
                  <a:pt x="6516968" y="1617195"/>
                </a:cubicBezTo>
                <a:cubicBezTo>
                  <a:pt x="6493173" y="1617368"/>
                  <a:pt x="6528193" y="1598652"/>
                  <a:pt x="6506479" y="1602227"/>
                </a:cubicBezTo>
                <a:cubicBezTo>
                  <a:pt x="6486674" y="1613929"/>
                  <a:pt x="6478484" y="1593997"/>
                  <a:pt x="6458436" y="1607332"/>
                </a:cubicBezTo>
                <a:cubicBezTo>
                  <a:pt x="6471168" y="1620800"/>
                  <a:pt x="6410323" y="1615478"/>
                  <a:pt x="6414786" y="1628815"/>
                </a:cubicBezTo>
                <a:cubicBezTo>
                  <a:pt x="6385942" y="1615041"/>
                  <a:pt x="6386569" y="1640238"/>
                  <a:pt x="6357085" y="1640846"/>
                </a:cubicBezTo>
                <a:cubicBezTo>
                  <a:pt x="6341163" y="1636809"/>
                  <a:pt x="6331497" y="1637754"/>
                  <a:pt x="6322636" y="1648213"/>
                </a:cubicBezTo>
                <a:cubicBezTo>
                  <a:pt x="6248448" y="1627802"/>
                  <a:pt x="6286748" y="1654976"/>
                  <a:pt x="6226172" y="1654676"/>
                </a:cubicBezTo>
                <a:lnTo>
                  <a:pt x="6221217" y="1654506"/>
                </a:lnTo>
                <a:lnTo>
                  <a:pt x="6204956" y="1664280"/>
                </a:lnTo>
                <a:cubicBezTo>
                  <a:pt x="6204728" y="1665114"/>
                  <a:pt x="6204498" y="1665947"/>
                  <a:pt x="6204270" y="1666782"/>
                </a:cubicBezTo>
                <a:lnTo>
                  <a:pt x="6143810" y="1661963"/>
                </a:lnTo>
                <a:lnTo>
                  <a:pt x="6136560" y="1665728"/>
                </a:lnTo>
                <a:lnTo>
                  <a:pt x="6096155" y="1656951"/>
                </a:lnTo>
                <a:lnTo>
                  <a:pt x="6075812" y="1655422"/>
                </a:lnTo>
                <a:lnTo>
                  <a:pt x="6039495" y="1649680"/>
                </a:lnTo>
                <a:lnTo>
                  <a:pt x="6036523" y="1652121"/>
                </a:lnTo>
                <a:lnTo>
                  <a:pt x="6029328" y="1649904"/>
                </a:lnTo>
                <a:lnTo>
                  <a:pt x="6024075" y="1652779"/>
                </a:lnTo>
                <a:lnTo>
                  <a:pt x="6018085" y="1652030"/>
                </a:lnTo>
                <a:cubicBezTo>
                  <a:pt x="6006658" y="1653831"/>
                  <a:pt x="5968194" y="1662035"/>
                  <a:pt x="5955513" y="1663584"/>
                </a:cubicBezTo>
                <a:lnTo>
                  <a:pt x="5941996" y="1661326"/>
                </a:lnTo>
                <a:lnTo>
                  <a:pt x="5931789" y="1669915"/>
                </a:lnTo>
                <a:lnTo>
                  <a:pt x="5888686" y="1672175"/>
                </a:lnTo>
                <a:lnTo>
                  <a:pt x="5873794" y="1665454"/>
                </a:lnTo>
                <a:lnTo>
                  <a:pt x="5860022" y="1660635"/>
                </a:lnTo>
                <a:lnTo>
                  <a:pt x="5858237" y="1660649"/>
                </a:lnTo>
                <a:lnTo>
                  <a:pt x="5840319" y="1660798"/>
                </a:lnTo>
                <a:lnTo>
                  <a:pt x="5806984" y="1661075"/>
                </a:lnTo>
                <a:cubicBezTo>
                  <a:pt x="5785708" y="1661533"/>
                  <a:pt x="5764126" y="1662974"/>
                  <a:pt x="5742351" y="1667489"/>
                </a:cubicBezTo>
                <a:cubicBezTo>
                  <a:pt x="5659069" y="1645168"/>
                  <a:pt x="5615134" y="1706361"/>
                  <a:pt x="5521171" y="1671626"/>
                </a:cubicBezTo>
                <a:cubicBezTo>
                  <a:pt x="5491803" y="1671296"/>
                  <a:pt x="5498089" y="1662666"/>
                  <a:pt x="5457384" y="1683952"/>
                </a:cubicBezTo>
                <a:cubicBezTo>
                  <a:pt x="5356959" y="1699287"/>
                  <a:pt x="5078905" y="1774579"/>
                  <a:pt x="4950070" y="1748401"/>
                </a:cubicBezTo>
                <a:cubicBezTo>
                  <a:pt x="4918276" y="1752255"/>
                  <a:pt x="4891043" y="1756936"/>
                  <a:pt x="4872172" y="1757222"/>
                </a:cubicBezTo>
                <a:lnTo>
                  <a:pt x="4809524" y="1761033"/>
                </a:lnTo>
                <a:cubicBezTo>
                  <a:pt x="4791324" y="1772975"/>
                  <a:pt x="4777258" y="1754591"/>
                  <a:pt x="4759058" y="1766533"/>
                </a:cubicBezTo>
                <a:cubicBezTo>
                  <a:pt x="4747481" y="1770744"/>
                  <a:pt x="4734604" y="1772921"/>
                  <a:pt x="4719749" y="1771811"/>
                </a:cubicBezTo>
                <a:cubicBezTo>
                  <a:pt x="4671168" y="1780243"/>
                  <a:pt x="4634134" y="1775931"/>
                  <a:pt x="4568686" y="1786141"/>
                </a:cubicBezTo>
                <a:cubicBezTo>
                  <a:pt x="4544667" y="1777910"/>
                  <a:pt x="4432547" y="1778168"/>
                  <a:pt x="4418751" y="1796932"/>
                </a:cubicBezTo>
                <a:cubicBezTo>
                  <a:pt x="4403360" y="1801488"/>
                  <a:pt x="4385278" y="1795746"/>
                  <a:pt x="4378377" y="1815528"/>
                </a:cubicBezTo>
                <a:cubicBezTo>
                  <a:pt x="4366870" y="1839461"/>
                  <a:pt x="4337372" y="1814003"/>
                  <a:pt x="4320575" y="1832722"/>
                </a:cubicBezTo>
                <a:cubicBezTo>
                  <a:pt x="4277898" y="1857053"/>
                  <a:pt x="4243945" y="1846759"/>
                  <a:pt x="4211935" y="1860177"/>
                </a:cubicBezTo>
                <a:cubicBezTo>
                  <a:pt x="4181519" y="1859584"/>
                  <a:pt x="4171342" y="1859762"/>
                  <a:pt x="4101228" y="1868717"/>
                </a:cubicBezTo>
                <a:cubicBezTo>
                  <a:pt x="4080159" y="1876188"/>
                  <a:pt x="4039427" y="1877381"/>
                  <a:pt x="3973223" y="1881015"/>
                </a:cubicBezTo>
                <a:cubicBezTo>
                  <a:pt x="3971330" y="1884974"/>
                  <a:pt x="3952843" y="1879225"/>
                  <a:pt x="3900992" y="1880603"/>
                </a:cubicBezTo>
                <a:cubicBezTo>
                  <a:pt x="3849141" y="1881981"/>
                  <a:pt x="3740060" y="1895686"/>
                  <a:pt x="3662119" y="1889285"/>
                </a:cubicBezTo>
                <a:cubicBezTo>
                  <a:pt x="3565155" y="1881322"/>
                  <a:pt x="3613412" y="1915150"/>
                  <a:pt x="3496919" y="1873180"/>
                </a:cubicBezTo>
                <a:cubicBezTo>
                  <a:pt x="3488062" y="1895719"/>
                  <a:pt x="3474293" y="1876288"/>
                  <a:pt x="3449433" y="1889681"/>
                </a:cubicBezTo>
                <a:cubicBezTo>
                  <a:pt x="3406553" y="1891629"/>
                  <a:pt x="3413217" y="1897797"/>
                  <a:pt x="3369766" y="1916653"/>
                </a:cubicBezTo>
                <a:cubicBezTo>
                  <a:pt x="3338805" y="1929531"/>
                  <a:pt x="3289487" y="1928617"/>
                  <a:pt x="3269672" y="1938036"/>
                </a:cubicBezTo>
                <a:lnTo>
                  <a:pt x="3224897" y="1943733"/>
                </a:lnTo>
                <a:cubicBezTo>
                  <a:pt x="3188693" y="1949271"/>
                  <a:pt x="3178540" y="1909145"/>
                  <a:pt x="3161463" y="1946591"/>
                </a:cubicBezTo>
                <a:lnTo>
                  <a:pt x="3112044" y="1935614"/>
                </a:lnTo>
                <a:lnTo>
                  <a:pt x="3069716" y="1930463"/>
                </a:lnTo>
                <a:cubicBezTo>
                  <a:pt x="3049937" y="1924285"/>
                  <a:pt x="3047816" y="1925644"/>
                  <a:pt x="3005773" y="1915878"/>
                </a:cubicBezTo>
                <a:cubicBezTo>
                  <a:pt x="2978838" y="1921092"/>
                  <a:pt x="2967972" y="1927319"/>
                  <a:pt x="2897201" y="1926772"/>
                </a:cubicBezTo>
                <a:lnTo>
                  <a:pt x="2783891" y="1931749"/>
                </a:lnTo>
                <a:cubicBezTo>
                  <a:pt x="2753098" y="1932794"/>
                  <a:pt x="2731621" y="1915151"/>
                  <a:pt x="2712447" y="1933044"/>
                </a:cubicBezTo>
                <a:cubicBezTo>
                  <a:pt x="2621923" y="1990472"/>
                  <a:pt x="2637976" y="1949546"/>
                  <a:pt x="2560151" y="1963609"/>
                </a:cubicBezTo>
                <a:cubicBezTo>
                  <a:pt x="2472084" y="1973456"/>
                  <a:pt x="2423631" y="1962133"/>
                  <a:pt x="2367221" y="1971884"/>
                </a:cubicBezTo>
                <a:cubicBezTo>
                  <a:pt x="2355331" y="1950582"/>
                  <a:pt x="2295649" y="1950006"/>
                  <a:pt x="2272130" y="1961162"/>
                </a:cubicBezTo>
                <a:cubicBezTo>
                  <a:pt x="2229336" y="1964326"/>
                  <a:pt x="2232627" y="1943953"/>
                  <a:pt x="2189404" y="1978172"/>
                </a:cubicBezTo>
                <a:cubicBezTo>
                  <a:pt x="2153824" y="1968017"/>
                  <a:pt x="2114605" y="1969166"/>
                  <a:pt x="2077704" y="1965002"/>
                </a:cubicBezTo>
                <a:cubicBezTo>
                  <a:pt x="2053064" y="1962036"/>
                  <a:pt x="2051584" y="1971011"/>
                  <a:pt x="2033299" y="1969042"/>
                </a:cubicBezTo>
                <a:cubicBezTo>
                  <a:pt x="2015014" y="1967073"/>
                  <a:pt x="1998956" y="1958903"/>
                  <a:pt x="1967996" y="1953187"/>
                </a:cubicBezTo>
                <a:cubicBezTo>
                  <a:pt x="1924117" y="1970917"/>
                  <a:pt x="1915668" y="1940297"/>
                  <a:pt x="1855805" y="1926082"/>
                </a:cubicBezTo>
                <a:cubicBezTo>
                  <a:pt x="1830663" y="1943732"/>
                  <a:pt x="1810564" y="1935694"/>
                  <a:pt x="1790957" y="1919460"/>
                </a:cubicBezTo>
                <a:cubicBezTo>
                  <a:pt x="1732588" y="1924884"/>
                  <a:pt x="1679506" y="1900619"/>
                  <a:pt x="1613978" y="1891581"/>
                </a:cubicBezTo>
                <a:cubicBezTo>
                  <a:pt x="1542961" y="1912227"/>
                  <a:pt x="1506863" y="1865666"/>
                  <a:pt x="1436831" y="1856201"/>
                </a:cubicBezTo>
                <a:cubicBezTo>
                  <a:pt x="1409149" y="1862955"/>
                  <a:pt x="1416370" y="1829853"/>
                  <a:pt x="1357365" y="1832140"/>
                </a:cubicBezTo>
                <a:cubicBezTo>
                  <a:pt x="1285880" y="1811785"/>
                  <a:pt x="1273193" y="1786872"/>
                  <a:pt x="1232341" y="1785942"/>
                </a:cubicBezTo>
                <a:cubicBezTo>
                  <a:pt x="1223903" y="1792798"/>
                  <a:pt x="1160576" y="1793911"/>
                  <a:pt x="1162595" y="1784330"/>
                </a:cubicBezTo>
                <a:cubicBezTo>
                  <a:pt x="1153167" y="1787110"/>
                  <a:pt x="1122206" y="1805077"/>
                  <a:pt x="1120257" y="1789615"/>
                </a:cubicBezTo>
                <a:cubicBezTo>
                  <a:pt x="1073149" y="1786750"/>
                  <a:pt x="1034361" y="1768718"/>
                  <a:pt x="991903" y="1786741"/>
                </a:cubicBezTo>
                <a:cubicBezTo>
                  <a:pt x="966383" y="1781126"/>
                  <a:pt x="949501" y="1800915"/>
                  <a:pt x="883960" y="1809389"/>
                </a:cubicBezTo>
                <a:cubicBezTo>
                  <a:pt x="836064" y="1808194"/>
                  <a:pt x="826980" y="1826610"/>
                  <a:pt x="766531" y="1805053"/>
                </a:cubicBezTo>
                <a:cubicBezTo>
                  <a:pt x="732778" y="1801141"/>
                  <a:pt x="694055" y="1787044"/>
                  <a:pt x="669779" y="1800537"/>
                </a:cubicBezTo>
                <a:cubicBezTo>
                  <a:pt x="645252" y="1794709"/>
                  <a:pt x="563495" y="1813232"/>
                  <a:pt x="523898" y="1811085"/>
                </a:cubicBezTo>
                <a:cubicBezTo>
                  <a:pt x="457555" y="1798530"/>
                  <a:pt x="395227" y="1824052"/>
                  <a:pt x="360251" y="1830735"/>
                </a:cubicBezTo>
                <a:cubicBezTo>
                  <a:pt x="313564" y="1825583"/>
                  <a:pt x="298281" y="1811622"/>
                  <a:pt x="255207" y="1818275"/>
                </a:cubicBezTo>
                <a:cubicBezTo>
                  <a:pt x="206572" y="1839769"/>
                  <a:pt x="160277" y="1836800"/>
                  <a:pt x="101803" y="1870647"/>
                </a:cubicBezTo>
                <a:cubicBezTo>
                  <a:pt x="85849" y="1910002"/>
                  <a:pt x="27997" y="1845258"/>
                  <a:pt x="25397" y="1888443"/>
                </a:cubicBezTo>
                <a:cubicBezTo>
                  <a:pt x="19096" y="1881154"/>
                  <a:pt x="11260" y="1878398"/>
                  <a:pt x="2370" y="1878311"/>
                </a:cubicBezTo>
                <a:lnTo>
                  <a:pt x="0" y="1878785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0D773F-7A7D-4DBB-9DEA-86BB8B8F4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381624" y="6209414"/>
            <a:ext cx="6810375" cy="648586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7B14C7-547B-B895-69C1-B8D35E284A6D}"/>
              </a:ext>
            </a:extLst>
          </p:cNvPr>
          <p:cNvSpPr txBox="1"/>
          <p:nvPr/>
        </p:nvSpPr>
        <p:spPr>
          <a:xfrm>
            <a:off x="240443" y="570529"/>
            <a:ext cx="716582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36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Kenya PPE Partnership Project </a:t>
            </a:r>
            <a:endParaRPr lang="en-US" sz="3600" dirty="0"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13CB4C-6F01-75BC-80B4-94CD7AE68AAB}"/>
              </a:ext>
            </a:extLst>
          </p:cNvPr>
          <p:cNvSpPr txBox="1"/>
          <p:nvPr/>
        </p:nvSpPr>
        <p:spPr>
          <a:xfrm>
            <a:off x="240443" y="1727537"/>
            <a:ext cx="11176857" cy="448187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lvl="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y collaborators: 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AC, Brazil (fabric testing)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ZR, Brazil (protype manufacturing)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niversity of Maribor, Slovenia (functional design)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SF team (Kenya logistical support and data collection; headquarters - planning)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yngenta team (Kenya data collection)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enya Pest Control Products Board (risk mitigation and liaison with Kenya Bureau of Standards)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CPPE/UMES, database development, planning/coordination. 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is presentation focuses on User Acceptance for C1 garments 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ilot testing of focus group meeting done by BASF and Syngenta.</a:t>
            </a:r>
            <a:endParaRPr kumimoji="0" lang="en-US" sz="2200" b="0" i="0" u="none" strike="noStrike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325079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FF47CB7-972F-479F-A36D-9E72D26EC8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153B68-5844-490D-8E67-F616D6D7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1766176" cy="2061837"/>
          </a:xfrm>
          <a:custGeom>
            <a:avLst/>
            <a:gdLst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13657 w 10768629"/>
              <a:gd name="connsiteY144" fmla="*/ 1730706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84330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0768629" h="1978172">
                <a:moveTo>
                  <a:pt x="0" y="0"/>
                </a:moveTo>
                <a:lnTo>
                  <a:pt x="10768629" y="0"/>
                </a:lnTo>
                <a:lnTo>
                  <a:pt x="10733254" y="31439"/>
                </a:lnTo>
                <a:lnTo>
                  <a:pt x="10727085" y="37910"/>
                </a:lnTo>
                <a:cubicBezTo>
                  <a:pt x="10712973" y="56080"/>
                  <a:pt x="10699457" y="78430"/>
                  <a:pt x="10675953" y="68623"/>
                </a:cubicBezTo>
                <a:cubicBezTo>
                  <a:pt x="10685972" y="89202"/>
                  <a:pt x="10641629" y="69781"/>
                  <a:pt x="10637091" y="90361"/>
                </a:cubicBezTo>
                <a:cubicBezTo>
                  <a:pt x="10635214" y="107005"/>
                  <a:pt x="10621323" y="104993"/>
                  <a:pt x="10610971" y="110764"/>
                </a:cubicBezTo>
                <a:cubicBezTo>
                  <a:pt x="10603980" y="127568"/>
                  <a:pt x="10551417" y="141180"/>
                  <a:pt x="10532872" y="138028"/>
                </a:cubicBezTo>
                <a:cubicBezTo>
                  <a:pt x="10480300" y="119072"/>
                  <a:pt x="10440532" y="186296"/>
                  <a:pt x="10398558" y="172911"/>
                </a:cubicBezTo>
                <a:cubicBezTo>
                  <a:pt x="10387708" y="174114"/>
                  <a:pt x="10378792" y="177646"/>
                  <a:pt x="10371128" y="182609"/>
                </a:cubicBezTo>
                <a:lnTo>
                  <a:pt x="10352178" y="199976"/>
                </a:lnTo>
                <a:lnTo>
                  <a:pt x="10351815" y="211879"/>
                </a:lnTo>
                <a:lnTo>
                  <a:pt x="10337471" y="218661"/>
                </a:lnTo>
                <a:lnTo>
                  <a:pt x="10334625" y="222351"/>
                </a:lnTo>
                <a:cubicBezTo>
                  <a:pt x="10321108" y="225227"/>
                  <a:pt x="10278615" y="228401"/>
                  <a:pt x="10256365" y="235917"/>
                </a:cubicBezTo>
                <a:cubicBezTo>
                  <a:pt x="10218136" y="258033"/>
                  <a:pt x="10224552" y="209685"/>
                  <a:pt x="10201127" y="267448"/>
                </a:cubicBezTo>
                <a:cubicBezTo>
                  <a:pt x="10121320" y="273476"/>
                  <a:pt x="10040763" y="345580"/>
                  <a:pt x="9961218" y="326720"/>
                </a:cubicBezTo>
                <a:cubicBezTo>
                  <a:pt x="9980173" y="341621"/>
                  <a:pt x="9883038" y="318484"/>
                  <a:pt x="9859715" y="355698"/>
                </a:cubicBezTo>
                <a:cubicBezTo>
                  <a:pt x="9812822" y="367758"/>
                  <a:pt x="9752089" y="383830"/>
                  <a:pt x="9679867" y="399081"/>
                </a:cubicBezTo>
                <a:cubicBezTo>
                  <a:pt x="9618357" y="415668"/>
                  <a:pt x="9525492" y="446315"/>
                  <a:pt x="9490654" y="455225"/>
                </a:cubicBezTo>
                <a:lnTo>
                  <a:pt x="9470837" y="452539"/>
                </a:lnTo>
                <a:lnTo>
                  <a:pt x="9469082" y="454891"/>
                </a:lnTo>
                <a:cubicBezTo>
                  <a:pt x="9460057" y="461184"/>
                  <a:pt x="9453495" y="461729"/>
                  <a:pt x="9448038" y="459733"/>
                </a:cubicBezTo>
                <a:lnTo>
                  <a:pt x="9396821" y="455795"/>
                </a:lnTo>
                <a:lnTo>
                  <a:pt x="9392197" y="459796"/>
                </a:lnTo>
                <a:lnTo>
                  <a:pt x="9347994" y="464462"/>
                </a:lnTo>
                <a:cubicBezTo>
                  <a:pt x="9347959" y="465155"/>
                  <a:pt x="9347925" y="465846"/>
                  <a:pt x="9347889" y="466539"/>
                </a:cubicBezTo>
                <a:cubicBezTo>
                  <a:pt x="9346648" y="471307"/>
                  <a:pt x="9343831" y="475025"/>
                  <a:pt x="9337639" y="476654"/>
                </a:cubicBezTo>
                <a:cubicBezTo>
                  <a:pt x="9354547" y="503661"/>
                  <a:pt x="9307720" y="510631"/>
                  <a:pt x="9287964" y="513052"/>
                </a:cubicBezTo>
                <a:cubicBezTo>
                  <a:pt x="9269905" y="526173"/>
                  <a:pt x="9245386" y="544358"/>
                  <a:pt x="9229283" y="555377"/>
                </a:cubicBezTo>
                <a:lnTo>
                  <a:pt x="9220274" y="557502"/>
                </a:lnTo>
                <a:cubicBezTo>
                  <a:pt x="9220250" y="557668"/>
                  <a:pt x="9220226" y="557835"/>
                  <a:pt x="9220202" y="558001"/>
                </a:cubicBezTo>
                <a:cubicBezTo>
                  <a:pt x="9218468" y="559434"/>
                  <a:pt x="9215591" y="560497"/>
                  <a:pt x="9210908" y="561147"/>
                </a:cubicBezTo>
                <a:lnTo>
                  <a:pt x="9186374" y="565502"/>
                </a:lnTo>
                <a:lnTo>
                  <a:pt x="9181058" y="569943"/>
                </a:lnTo>
                <a:lnTo>
                  <a:pt x="9167549" y="584727"/>
                </a:lnTo>
                <a:lnTo>
                  <a:pt x="9149110" y="598906"/>
                </a:lnTo>
                <a:cubicBezTo>
                  <a:pt x="9133575" y="594395"/>
                  <a:pt x="9087390" y="636567"/>
                  <a:pt x="9078556" y="644039"/>
                </a:cubicBezTo>
                <a:lnTo>
                  <a:pt x="8996399" y="690055"/>
                </a:lnTo>
                <a:cubicBezTo>
                  <a:pt x="8913147" y="777045"/>
                  <a:pt x="8867993" y="772591"/>
                  <a:pt x="8803791" y="813860"/>
                </a:cubicBezTo>
                <a:cubicBezTo>
                  <a:pt x="8745270" y="819906"/>
                  <a:pt x="8690049" y="823612"/>
                  <a:pt x="8636202" y="848463"/>
                </a:cubicBezTo>
                <a:cubicBezTo>
                  <a:pt x="8594799" y="860014"/>
                  <a:pt x="8568613" y="864779"/>
                  <a:pt x="8555372" y="883171"/>
                </a:cubicBezTo>
                <a:lnTo>
                  <a:pt x="8507229" y="901665"/>
                </a:lnTo>
                <a:lnTo>
                  <a:pt x="8428473" y="927985"/>
                </a:lnTo>
                <a:cubicBezTo>
                  <a:pt x="8428287" y="929817"/>
                  <a:pt x="8428100" y="931648"/>
                  <a:pt x="8427914" y="933480"/>
                </a:cubicBezTo>
                <a:lnTo>
                  <a:pt x="8420327" y="941984"/>
                </a:lnTo>
                <a:lnTo>
                  <a:pt x="8394729" y="948347"/>
                </a:lnTo>
                <a:lnTo>
                  <a:pt x="8380548" y="987916"/>
                </a:lnTo>
                <a:lnTo>
                  <a:pt x="8375330" y="965444"/>
                </a:lnTo>
                <a:cubicBezTo>
                  <a:pt x="8372375" y="964202"/>
                  <a:pt x="8344433" y="977378"/>
                  <a:pt x="8340796" y="980522"/>
                </a:cubicBezTo>
                <a:cubicBezTo>
                  <a:pt x="8328292" y="982128"/>
                  <a:pt x="8319237" y="991089"/>
                  <a:pt x="8304438" y="996739"/>
                </a:cubicBezTo>
                <a:cubicBezTo>
                  <a:pt x="8297193" y="1005683"/>
                  <a:pt x="8289328" y="1014568"/>
                  <a:pt x="8280929" y="1023089"/>
                </a:cubicBezTo>
                <a:lnTo>
                  <a:pt x="8275760" y="1027772"/>
                </a:lnTo>
                <a:lnTo>
                  <a:pt x="8275478" y="1027605"/>
                </a:lnTo>
                <a:cubicBezTo>
                  <a:pt x="8273970" y="1028076"/>
                  <a:pt x="8251461" y="1029408"/>
                  <a:pt x="8249003" y="1032033"/>
                </a:cubicBezTo>
                <a:lnTo>
                  <a:pt x="8203836" y="1037347"/>
                </a:lnTo>
                <a:cubicBezTo>
                  <a:pt x="8172789" y="1049890"/>
                  <a:pt x="8148166" y="1034625"/>
                  <a:pt x="8122936" y="1063113"/>
                </a:cubicBezTo>
                <a:cubicBezTo>
                  <a:pt x="8093850" y="1074757"/>
                  <a:pt x="8066781" y="1075350"/>
                  <a:pt x="8043658" y="1092746"/>
                </a:cubicBezTo>
                <a:cubicBezTo>
                  <a:pt x="8032157" y="1089174"/>
                  <a:pt x="8022145" y="1089998"/>
                  <a:pt x="8015351" y="1105478"/>
                </a:cubicBezTo>
                <a:cubicBezTo>
                  <a:pt x="7987544" y="1113006"/>
                  <a:pt x="7977708" y="1099152"/>
                  <a:pt x="7963145" y="1119346"/>
                </a:cubicBezTo>
                <a:cubicBezTo>
                  <a:pt x="7942622" y="1098880"/>
                  <a:pt x="7943760" y="1109516"/>
                  <a:pt x="7938145" y="1120225"/>
                </a:cubicBezTo>
                <a:lnTo>
                  <a:pt x="7937238" y="1121204"/>
                </a:lnTo>
                <a:lnTo>
                  <a:pt x="7934398" y="1118240"/>
                </a:lnTo>
                <a:lnTo>
                  <a:pt x="7918248" y="1124371"/>
                </a:lnTo>
                <a:lnTo>
                  <a:pt x="7914119" y="1127653"/>
                </a:lnTo>
                <a:cubicBezTo>
                  <a:pt x="7911201" y="1129547"/>
                  <a:pt x="7909169" y="1130331"/>
                  <a:pt x="7907658" y="1130350"/>
                </a:cubicBezTo>
                <a:lnTo>
                  <a:pt x="7907434" y="1130103"/>
                </a:lnTo>
                <a:lnTo>
                  <a:pt x="7901508" y="1133245"/>
                </a:lnTo>
                <a:cubicBezTo>
                  <a:pt x="7891644" y="1139271"/>
                  <a:pt x="7882185" y="1145815"/>
                  <a:pt x="7873287" y="1152609"/>
                </a:cubicBezTo>
                <a:cubicBezTo>
                  <a:pt x="7864672" y="1141906"/>
                  <a:pt x="7845199" y="1159242"/>
                  <a:pt x="7834833" y="1153868"/>
                </a:cubicBezTo>
                <a:lnTo>
                  <a:pt x="7828661" y="1139994"/>
                </a:lnTo>
                <a:lnTo>
                  <a:pt x="7823966" y="1143178"/>
                </a:lnTo>
                <a:lnTo>
                  <a:pt x="7815078" y="1151776"/>
                </a:lnTo>
                <a:cubicBezTo>
                  <a:pt x="7813692" y="1152943"/>
                  <a:pt x="7812687" y="1153116"/>
                  <a:pt x="7812026" y="1151522"/>
                </a:cubicBezTo>
                <a:cubicBezTo>
                  <a:pt x="7806555" y="1153054"/>
                  <a:pt x="7788673" y="1159989"/>
                  <a:pt x="7782249" y="1160970"/>
                </a:cubicBezTo>
                <a:lnTo>
                  <a:pt x="7773476" y="1157414"/>
                </a:lnTo>
                <a:lnTo>
                  <a:pt x="7769600" y="1157365"/>
                </a:lnTo>
                <a:lnTo>
                  <a:pt x="7752631" y="1172815"/>
                </a:lnTo>
                <a:lnTo>
                  <a:pt x="7739392" y="1192062"/>
                </a:lnTo>
                <a:lnTo>
                  <a:pt x="7677677" y="1216394"/>
                </a:lnTo>
                <a:lnTo>
                  <a:pt x="7586920" y="1261888"/>
                </a:lnTo>
                <a:cubicBezTo>
                  <a:pt x="7556723" y="1298911"/>
                  <a:pt x="7489187" y="1284518"/>
                  <a:pt x="7486100" y="1292563"/>
                </a:cubicBezTo>
                <a:cubicBezTo>
                  <a:pt x="7454875" y="1308356"/>
                  <a:pt x="7453335" y="1326361"/>
                  <a:pt x="7411323" y="1340732"/>
                </a:cubicBezTo>
                <a:cubicBezTo>
                  <a:pt x="7372519" y="1390006"/>
                  <a:pt x="7288617" y="1403664"/>
                  <a:pt x="7240698" y="1438832"/>
                </a:cubicBezTo>
                <a:cubicBezTo>
                  <a:pt x="7206467" y="1417136"/>
                  <a:pt x="7227555" y="1441678"/>
                  <a:pt x="7197675" y="1447530"/>
                </a:cubicBezTo>
                <a:cubicBezTo>
                  <a:pt x="7211601" y="1474927"/>
                  <a:pt x="7159483" y="1444981"/>
                  <a:pt x="7164788" y="1480293"/>
                </a:cubicBezTo>
                <a:cubicBezTo>
                  <a:pt x="7159184" y="1480240"/>
                  <a:pt x="7153584" y="1479075"/>
                  <a:pt x="7147929" y="1477641"/>
                </a:cubicBezTo>
                <a:lnTo>
                  <a:pt x="7144965" y="1476908"/>
                </a:lnTo>
                <a:lnTo>
                  <a:pt x="7134299" y="1479969"/>
                </a:lnTo>
                <a:lnTo>
                  <a:pt x="7129809" y="1473339"/>
                </a:lnTo>
                <a:lnTo>
                  <a:pt x="7112688" y="1472575"/>
                </a:lnTo>
                <a:cubicBezTo>
                  <a:pt x="7106506" y="1473449"/>
                  <a:pt x="7100123" y="1475741"/>
                  <a:pt x="7093470" y="1480300"/>
                </a:cubicBezTo>
                <a:cubicBezTo>
                  <a:pt x="7079039" y="1501274"/>
                  <a:pt x="7048991" y="1495718"/>
                  <a:pt x="7025034" y="1506934"/>
                </a:cubicBezTo>
                <a:lnTo>
                  <a:pt x="7014783" y="1515868"/>
                </a:lnTo>
                <a:lnTo>
                  <a:pt x="6979706" y="1523511"/>
                </a:lnTo>
                <a:lnTo>
                  <a:pt x="6977890" y="1525793"/>
                </a:lnTo>
                <a:cubicBezTo>
                  <a:pt x="6971996" y="1527914"/>
                  <a:pt x="6959488" y="1529941"/>
                  <a:pt x="6944339" y="1536237"/>
                </a:cubicBezTo>
                <a:lnTo>
                  <a:pt x="6886996" y="1563569"/>
                </a:lnTo>
                <a:lnTo>
                  <a:pt x="6874510" y="1558469"/>
                </a:lnTo>
                <a:lnTo>
                  <a:pt x="6871943" y="1554651"/>
                </a:lnTo>
                <a:lnTo>
                  <a:pt x="6856174" y="1562024"/>
                </a:lnTo>
                <a:lnTo>
                  <a:pt x="6842321" y="1560554"/>
                </a:lnTo>
                <a:lnTo>
                  <a:pt x="6832713" y="1569357"/>
                </a:lnTo>
                <a:lnTo>
                  <a:pt x="6816351" y="1571495"/>
                </a:lnTo>
                <a:cubicBezTo>
                  <a:pt x="6810216" y="1571510"/>
                  <a:pt x="6803310" y="1571324"/>
                  <a:pt x="6795800" y="1572010"/>
                </a:cubicBezTo>
                <a:lnTo>
                  <a:pt x="6777546" y="1568661"/>
                </a:lnTo>
                <a:lnTo>
                  <a:pt x="6751528" y="1574143"/>
                </a:lnTo>
                <a:cubicBezTo>
                  <a:pt x="6731455" y="1578562"/>
                  <a:pt x="6712054" y="1582098"/>
                  <a:pt x="6691966" y="1582255"/>
                </a:cubicBezTo>
                <a:cubicBezTo>
                  <a:pt x="6677921" y="1590738"/>
                  <a:pt x="6663787" y="1595441"/>
                  <a:pt x="6646941" y="1588471"/>
                </a:cubicBezTo>
                <a:cubicBezTo>
                  <a:pt x="6605135" y="1597971"/>
                  <a:pt x="6598373" y="1612583"/>
                  <a:pt x="6568576" y="1606488"/>
                </a:cubicBezTo>
                <a:cubicBezTo>
                  <a:pt x="6562510" y="1614734"/>
                  <a:pt x="6558067" y="1619360"/>
                  <a:pt x="6554358" y="1621701"/>
                </a:cubicBezTo>
                <a:cubicBezTo>
                  <a:pt x="6543227" y="1628727"/>
                  <a:pt x="6538724" y="1615196"/>
                  <a:pt x="6516968" y="1617195"/>
                </a:cubicBezTo>
                <a:cubicBezTo>
                  <a:pt x="6493173" y="1617368"/>
                  <a:pt x="6528193" y="1598652"/>
                  <a:pt x="6506479" y="1602227"/>
                </a:cubicBezTo>
                <a:cubicBezTo>
                  <a:pt x="6486674" y="1613929"/>
                  <a:pt x="6478484" y="1593997"/>
                  <a:pt x="6458436" y="1607332"/>
                </a:cubicBezTo>
                <a:cubicBezTo>
                  <a:pt x="6471168" y="1620800"/>
                  <a:pt x="6410323" y="1615478"/>
                  <a:pt x="6414786" y="1628815"/>
                </a:cubicBezTo>
                <a:cubicBezTo>
                  <a:pt x="6385942" y="1615041"/>
                  <a:pt x="6386569" y="1640238"/>
                  <a:pt x="6357085" y="1640846"/>
                </a:cubicBezTo>
                <a:cubicBezTo>
                  <a:pt x="6341163" y="1636809"/>
                  <a:pt x="6331497" y="1637754"/>
                  <a:pt x="6322636" y="1648213"/>
                </a:cubicBezTo>
                <a:cubicBezTo>
                  <a:pt x="6248448" y="1627802"/>
                  <a:pt x="6286748" y="1654976"/>
                  <a:pt x="6226172" y="1654676"/>
                </a:cubicBezTo>
                <a:lnTo>
                  <a:pt x="6221217" y="1654506"/>
                </a:lnTo>
                <a:lnTo>
                  <a:pt x="6204956" y="1664280"/>
                </a:lnTo>
                <a:cubicBezTo>
                  <a:pt x="6204728" y="1665114"/>
                  <a:pt x="6204498" y="1665947"/>
                  <a:pt x="6204270" y="1666782"/>
                </a:cubicBezTo>
                <a:lnTo>
                  <a:pt x="6143810" y="1661963"/>
                </a:lnTo>
                <a:lnTo>
                  <a:pt x="6136560" y="1665728"/>
                </a:lnTo>
                <a:lnTo>
                  <a:pt x="6096155" y="1656951"/>
                </a:lnTo>
                <a:lnTo>
                  <a:pt x="6075812" y="1655422"/>
                </a:lnTo>
                <a:lnTo>
                  <a:pt x="6039495" y="1649680"/>
                </a:lnTo>
                <a:lnTo>
                  <a:pt x="6036523" y="1652121"/>
                </a:lnTo>
                <a:lnTo>
                  <a:pt x="6029328" y="1649904"/>
                </a:lnTo>
                <a:lnTo>
                  <a:pt x="6024075" y="1652779"/>
                </a:lnTo>
                <a:lnTo>
                  <a:pt x="6018085" y="1652030"/>
                </a:lnTo>
                <a:cubicBezTo>
                  <a:pt x="6006658" y="1653831"/>
                  <a:pt x="5968194" y="1662035"/>
                  <a:pt x="5955513" y="1663584"/>
                </a:cubicBezTo>
                <a:lnTo>
                  <a:pt x="5941996" y="1661326"/>
                </a:lnTo>
                <a:lnTo>
                  <a:pt x="5931789" y="1669915"/>
                </a:lnTo>
                <a:lnTo>
                  <a:pt x="5888686" y="1672175"/>
                </a:lnTo>
                <a:lnTo>
                  <a:pt x="5873794" y="1665454"/>
                </a:lnTo>
                <a:lnTo>
                  <a:pt x="5860022" y="1660635"/>
                </a:lnTo>
                <a:lnTo>
                  <a:pt x="5858237" y="1660649"/>
                </a:lnTo>
                <a:lnTo>
                  <a:pt x="5840319" y="1660798"/>
                </a:lnTo>
                <a:lnTo>
                  <a:pt x="5806984" y="1661075"/>
                </a:lnTo>
                <a:cubicBezTo>
                  <a:pt x="5785708" y="1661533"/>
                  <a:pt x="5764126" y="1662974"/>
                  <a:pt x="5742351" y="1667489"/>
                </a:cubicBezTo>
                <a:cubicBezTo>
                  <a:pt x="5659069" y="1645168"/>
                  <a:pt x="5615134" y="1706361"/>
                  <a:pt x="5521171" y="1671626"/>
                </a:cubicBezTo>
                <a:cubicBezTo>
                  <a:pt x="5491803" y="1671296"/>
                  <a:pt x="5498089" y="1662666"/>
                  <a:pt x="5457384" y="1683952"/>
                </a:cubicBezTo>
                <a:cubicBezTo>
                  <a:pt x="5356959" y="1699287"/>
                  <a:pt x="5078905" y="1774579"/>
                  <a:pt x="4950070" y="1748401"/>
                </a:cubicBezTo>
                <a:cubicBezTo>
                  <a:pt x="4918276" y="1752255"/>
                  <a:pt x="4891043" y="1756936"/>
                  <a:pt x="4872172" y="1757222"/>
                </a:cubicBezTo>
                <a:lnTo>
                  <a:pt x="4809524" y="1761033"/>
                </a:lnTo>
                <a:cubicBezTo>
                  <a:pt x="4791324" y="1772975"/>
                  <a:pt x="4777258" y="1754591"/>
                  <a:pt x="4759058" y="1766533"/>
                </a:cubicBezTo>
                <a:cubicBezTo>
                  <a:pt x="4747481" y="1770744"/>
                  <a:pt x="4734604" y="1772921"/>
                  <a:pt x="4719749" y="1771811"/>
                </a:cubicBezTo>
                <a:cubicBezTo>
                  <a:pt x="4671168" y="1780243"/>
                  <a:pt x="4634134" y="1775931"/>
                  <a:pt x="4568686" y="1786141"/>
                </a:cubicBezTo>
                <a:cubicBezTo>
                  <a:pt x="4544667" y="1777910"/>
                  <a:pt x="4432547" y="1778168"/>
                  <a:pt x="4418751" y="1796932"/>
                </a:cubicBezTo>
                <a:cubicBezTo>
                  <a:pt x="4403360" y="1801488"/>
                  <a:pt x="4385278" y="1795746"/>
                  <a:pt x="4378377" y="1815528"/>
                </a:cubicBezTo>
                <a:cubicBezTo>
                  <a:pt x="4366870" y="1839461"/>
                  <a:pt x="4337372" y="1814003"/>
                  <a:pt x="4320575" y="1832722"/>
                </a:cubicBezTo>
                <a:cubicBezTo>
                  <a:pt x="4277898" y="1857053"/>
                  <a:pt x="4243945" y="1846759"/>
                  <a:pt x="4211935" y="1860177"/>
                </a:cubicBezTo>
                <a:cubicBezTo>
                  <a:pt x="4181519" y="1859584"/>
                  <a:pt x="4171342" y="1859762"/>
                  <a:pt x="4101228" y="1868717"/>
                </a:cubicBezTo>
                <a:cubicBezTo>
                  <a:pt x="4080159" y="1876188"/>
                  <a:pt x="4039427" y="1877381"/>
                  <a:pt x="3973223" y="1881015"/>
                </a:cubicBezTo>
                <a:cubicBezTo>
                  <a:pt x="3971330" y="1884974"/>
                  <a:pt x="3952843" y="1879225"/>
                  <a:pt x="3900992" y="1880603"/>
                </a:cubicBezTo>
                <a:cubicBezTo>
                  <a:pt x="3849141" y="1881981"/>
                  <a:pt x="3740060" y="1895686"/>
                  <a:pt x="3662119" y="1889285"/>
                </a:cubicBezTo>
                <a:cubicBezTo>
                  <a:pt x="3565155" y="1881322"/>
                  <a:pt x="3613412" y="1915150"/>
                  <a:pt x="3496919" y="1873180"/>
                </a:cubicBezTo>
                <a:cubicBezTo>
                  <a:pt x="3488062" y="1895719"/>
                  <a:pt x="3474293" y="1876288"/>
                  <a:pt x="3449433" y="1889681"/>
                </a:cubicBezTo>
                <a:cubicBezTo>
                  <a:pt x="3406553" y="1891629"/>
                  <a:pt x="3413217" y="1897797"/>
                  <a:pt x="3369766" y="1916653"/>
                </a:cubicBezTo>
                <a:cubicBezTo>
                  <a:pt x="3338805" y="1929531"/>
                  <a:pt x="3289487" y="1928617"/>
                  <a:pt x="3269672" y="1938036"/>
                </a:cubicBezTo>
                <a:lnTo>
                  <a:pt x="3224897" y="1943733"/>
                </a:lnTo>
                <a:cubicBezTo>
                  <a:pt x="3188693" y="1949271"/>
                  <a:pt x="3178540" y="1909145"/>
                  <a:pt x="3161463" y="1946591"/>
                </a:cubicBezTo>
                <a:lnTo>
                  <a:pt x="3112044" y="1935614"/>
                </a:lnTo>
                <a:lnTo>
                  <a:pt x="3069716" y="1930463"/>
                </a:lnTo>
                <a:cubicBezTo>
                  <a:pt x="3049937" y="1924285"/>
                  <a:pt x="3047816" y="1925644"/>
                  <a:pt x="3005773" y="1915878"/>
                </a:cubicBezTo>
                <a:cubicBezTo>
                  <a:pt x="2978838" y="1921092"/>
                  <a:pt x="2967972" y="1927319"/>
                  <a:pt x="2897201" y="1926772"/>
                </a:cubicBezTo>
                <a:lnTo>
                  <a:pt x="2783891" y="1931749"/>
                </a:lnTo>
                <a:cubicBezTo>
                  <a:pt x="2753098" y="1932794"/>
                  <a:pt x="2731621" y="1915151"/>
                  <a:pt x="2712447" y="1933044"/>
                </a:cubicBezTo>
                <a:cubicBezTo>
                  <a:pt x="2621923" y="1990472"/>
                  <a:pt x="2637976" y="1949546"/>
                  <a:pt x="2560151" y="1963609"/>
                </a:cubicBezTo>
                <a:cubicBezTo>
                  <a:pt x="2472084" y="1973456"/>
                  <a:pt x="2423631" y="1962133"/>
                  <a:pt x="2367221" y="1971884"/>
                </a:cubicBezTo>
                <a:cubicBezTo>
                  <a:pt x="2355331" y="1950582"/>
                  <a:pt x="2295649" y="1950006"/>
                  <a:pt x="2272130" y="1961162"/>
                </a:cubicBezTo>
                <a:cubicBezTo>
                  <a:pt x="2229336" y="1964326"/>
                  <a:pt x="2232627" y="1943953"/>
                  <a:pt x="2189404" y="1978172"/>
                </a:cubicBezTo>
                <a:cubicBezTo>
                  <a:pt x="2153824" y="1968017"/>
                  <a:pt x="2114605" y="1969166"/>
                  <a:pt x="2077704" y="1965002"/>
                </a:cubicBezTo>
                <a:cubicBezTo>
                  <a:pt x="2053064" y="1962036"/>
                  <a:pt x="2051584" y="1971011"/>
                  <a:pt x="2033299" y="1969042"/>
                </a:cubicBezTo>
                <a:cubicBezTo>
                  <a:pt x="2015014" y="1967073"/>
                  <a:pt x="1998956" y="1958903"/>
                  <a:pt x="1967996" y="1953187"/>
                </a:cubicBezTo>
                <a:cubicBezTo>
                  <a:pt x="1924117" y="1970917"/>
                  <a:pt x="1915668" y="1940297"/>
                  <a:pt x="1855805" y="1926082"/>
                </a:cubicBezTo>
                <a:cubicBezTo>
                  <a:pt x="1830663" y="1943732"/>
                  <a:pt x="1810564" y="1935694"/>
                  <a:pt x="1790957" y="1919460"/>
                </a:cubicBezTo>
                <a:cubicBezTo>
                  <a:pt x="1732588" y="1924884"/>
                  <a:pt x="1679506" y="1900619"/>
                  <a:pt x="1613978" y="1891581"/>
                </a:cubicBezTo>
                <a:cubicBezTo>
                  <a:pt x="1542961" y="1912227"/>
                  <a:pt x="1506863" y="1865666"/>
                  <a:pt x="1436831" y="1856201"/>
                </a:cubicBezTo>
                <a:cubicBezTo>
                  <a:pt x="1409149" y="1862955"/>
                  <a:pt x="1416370" y="1829853"/>
                  <a:pt x="1357365" y="1832140"/>
                </a:cubicBezTo>
                <a:cubicBezTo>
                  <a:pt x="1285880" y="1811785"/>
                  <a:pt x="1273193" y="1786872"/>
                  <a:pt x="1232341" y="1785942"/>
                </a:cubicBezTo>
                <a:cubicBezTo>
                  <a:pt x="1223903" y="1792798"/>
                  <a:pt x="1160576" y="1793911"/>
                  <a:pt x="1162595" y="1784330"/>
                </a:cubicBezTo>
                <a:cubicBezTo>
                  <a:pt x="1153167" y="1787110"/>
                  <a:pt x="1122206" y="1805077"/>
                  <a:pt x="1120257" y="1789615"/>
                </a:cubicBezTo>
                <a:cubicBezTo>
                  <a:pt x="1073149" y="1786750"/>
                  <a:pt x="1034361" y="1768718"/>
                  <a:pt x="991903" y="1786741"/>
                </a:cubicBezTo>
                <a:cubicBezTo>
                  <a:pt x="966383" y="1781126"/>
                  <a:pt x="949501" y="1800915"/>
                  <a:pt x="883960" y="1809389"/>
                </a:cubicBezTo>
                <a:cubicBezTo>
                  <a:pt x="836064" y="1808194"/>
                  <a:pt x="826980" y="1826610"/>
                  <a:pt x="766531" y="1805053"/>
                </a:cubicBezTo>
                <a:cubicBezTo>
                  <a:pt x="732778" y="1801141"/>
                  <a:pt x="694055" y="1787044"/>
                  <a:pt x="669779" y="1800537"/>
                </a:cubicBezTo>
                <a:cubicBezTo>
                  <a:pt x="645252" y="1794709"/>
                  <a:pt x="563495" y="1813232"/>
                  <a:pt x="523898" y="1811085"/>
                </a:cubicBezTo>
                <a:cubicBezTo>
                  <a:pt x="457555" y="1798530"/>
                  <a:pt x="395227" y="1824052"/>
                  <a:pt x="360251" y="1830735"/>
                </a:cubicBezTo>
                <a:cubicBezTo>
                  <a:pt x="313564" y="1825583"/>
                  <a:pt x="298281" y="1811622"/>
                  <a:pt x="255207" y="1818275"/>
                </a:cubicBezTo>
                <a:cubicBezTo>
                  <a:pt x="206572" y="1839769"/>
                  <a:pt x="160277" y="1836800"/>
                  <a:pt x="101803" y="1870647"/>
                </a:cubicBezTo>
                <a:cubicBezTo>
                  <a:pt x="85849" y="1910002"/>
                  <a:pt x="27997" y="1845258"/>
                  <a:pt x="25397" y="1888443"/>
                </a:cubicBezTo>
                <a:cubicBezTo>
                  <a:pt x="19096" y="1881154"/>
                  <a:pt x="11260" y="1878398"/>
                  <a:pt x="2370" y="1878311"/>
                </a:cubicBezTo>
                <a:lnTo>
                  <a:pt x="0" y="1878785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0D773F-7A7D-4DBB-9DEA-86BB8B8F4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381624" y="6209414"/>
            <a:ext cx="6810375" cy="648586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E84430E1-E98F-387C-8509-C6EB7E2417E4}"/>
              </a:ext>
            </a:extLst>
          </p:cNvPr>
          <p:cNvSpPr/>
          <p:nvPr/>
        </p:nvSpPr>
        <p:spPr>
          <a:xfrm>
            <a:off x="0" y="2186039"/>
            <a:ext cx="12181567" cy="274488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2">
                <a:lumMod val="9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5ECC914-8599-BBE1-3A35-FBDAEC799279}"/>
              </a:ext>
            </a:extLst>
          </p:cNvPr>
          <p:cNvSpPr/>
          <p:nvPr/>
        </p:nvSpPr>
        <p:spPr>
          <a:xfrm>
            <a:off x="2905528" y="2186207"/>
            <a:ext cx="274320" cy="274320"/>
          </a:xfrm>
          <a:prstGeom prst="ellipse">
            <a:avLst/>
          </a:prstGeom>
          <a:solidFill>
            <a:srgbClr val="65AC1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9DF7C27D-90B7-92A6-4797-C4CF41A3B89B}"/>
              </a:ext>
            </a:extLst>
          </p:cNvPr>
          <p:cNvSpPr/>
          <p:nvPr/>
        </p:nvSpPr>
        <p:spPr>
          <a:xfrm>
            <a:off x="6271681" y="2186207"/>
            <a:ext cx="274320" cy="274320"/>
          </a:xfrm>
          <a:prstGeom prst="ellipse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895D9FD4-47F1-0A2C-9429-5CE07490ED10}"/>
              </a:ext>
            </a:extLst>
          </p:cNvPr>
          <p:cNvSpPr/>
          <p:nvPr/>
        </p:nvSpPr>
        <p:spPr>
          <a:xfrm>
            <a:off x="9684974" y="2186207"/>
            <a:ext cx="274320" cy="274320"/>
          </a:xfrm>
          <a:prstGeom prst="ellipse">
            <a:avLst/>
          </a:prstGeom>
          <a:solidFill>
            <a:schemeClr val="accent2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DF638CA-DF91-E16C-0E75-E1FE33EC5187}"/>
              </a:ext>
            </a:extLst>
          </p:cNvPr>
          <p:cNvCxnSpPr/>
          <p:nvPr/>
        </p:nvCxnSpPr>
        <p:spPr>
          <a:xfrm>
            <a:off x="3041963" y="2441673"/>
            <a:ext cx="0" cy="290367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9C92069A-8BA5-7C4B-9485-00404C73923A}"/>
              </a:ext>
            </a:extLst>
          </p:cNvPr>
          <p:cNvSpPr/>
          <p:nvPr/>
        </p:nvSpPr>
        <p:spPr>
          <a:xfrm>
            <a:off x="1542147" y="3073742"/>
            <a:ext cx="3143424" cy="1112363"/>
          </a:xfrm>
          <a:prstGeom prst="rect">
            <a:avLst/>
          </a:prstGeom>
          <a:solidFill>
            <a:srgbClr val="65AC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0AD7A69-5029-D486-E162-25144CE77264}"/>
              </a:ext>
            </a:extLst>
          </p:cNvPr>
          <p:cNvSpPr/>
          <p:nvPr/>
        </p:nvSpPr>
        <p:spPr>
          <a:xfrm>
            <a:off x="2676928" y="2714260"/>
            <a:ext cx="731520" cy="73152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65AC1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EA30AA8-07B0-918C-C752-D153381058C3}"/>
              </a:ext>
            </a:extLst>
          </p:cNvPr>
          <p:cNvCxnSpPr/>
          <p:nvPr/>
        </p:nvCxnSpPr>
        <p:spPr>
          <a:xfrm>
            <a:off x="1774438" y="4186104"/>
            <a:ext cx="0" cy="192024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55" name="Oval 54">
            <a:extLst>
              <a:ext uri="{FF2B5EF4-FFF2-40B4-BE49-F238E27FC236}">
                <a16:creationId xmlns:a16="http://schemas.microsoft.com/office/drawing/2014/main" id="{67ECFF07-DB85-18C4-804C-7F822270677D}"/>
              </a:ext>
            </a:extLst>
          </p:cNvPr>
          <p:cNvSpPr/>
          <p:nvPr/>
        </p:nvSpPr>
        <p:spPr>
          <a:xfrm>
            <a:off x="1736326" y="4621946"/>
            <a:ext cx="91440" cy="9144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65AC1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306A70C-8705-40E4-2545-E06CE56BA1D6}"/>
              </a:ext>
            </a:extLst>
          </p:cNvPr>
          <p:cNvSpPr/>
          <p:nvPr/>
        </p:nvSpPr>
        <p:spPr>
          <a:xfrm>
            <a:off x="1736326" y="5200723"/>
            <a:ext cx="91440" cy="9144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65AC1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3F627D59-154F-0E85-86A2-D0266B4A9647}"/>
              </a:ext>
            </a:extLst>
          </p:cNvPr>
          <p:cNvSpPr/>
          <p:nvPr/>
        </p:nvSpPr>
        <p:spPr>
          <a:xfrm>
            <a:off x="1736326" y="5791773"/>
            <a:ext cx="91440" cy="9144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65AC1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4B3A100-D3C2-B6E6-05A1-20416B606872}"/>
              </a:ext>
            </a:extLst>
          </p:cNvPr>
          <p:cNvCxnSpPr/>
          <p:nvPr/>
        </p:nvCxnSpPr>
        <p:spPr>
          <a:xfrm>
            <a:off x="6405890" y="2441673"/>
            <a:ext cx="0" cy="290367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D385F714-6C6B-4E68-C402-2BEC8EA21656}"/>
              </a:ext>
            </a:extLst>
          </p:cNvPr>
          <p:cNvSpPr/>
          <p:nvPr/>
        </p:nvSpPr>
        <p:spPr>
          <a:xfrm>
            <a:off x="4906074" y="3073742"/>
            <a:ext cx="3143424" cy="1112363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4E76299-A538-0663-F180-4522FD057D0F}"/>
              </a:ext>
            </a:extLst>
          </p:cNvPr>
          <p:cNvCxnSpPr/>
          <p:nvPr/>
        </p:nvCxnSpPr>
        <p:spPr>
          <a:xfrm>
            <a:off x="5138365" y="4186104"/>
            <a:ext cx="0" cy="1554480"/>
          </a:xfrm>
          <a:prstGeom prst="line">
            <a:avLst/>
          </a:prstGeom>
          <a:noFill/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  <p:sp>
        <p:nvSpPr>
          <p:cNvPr id="61" name="Oval 60">
            <a:extLst>
              <a:ext uri="{FF2B5EF4-FFF2-40B4-BE49-F238E27FC236}">
                <a16:creationId xmlns:a16="http://schemas.microsoft.com/office/drawing/2014/main" id="{1752FA0C-DEC6-5DF0-1DE4-B4C148236B41}"/>
              </a:ext>
            </a:extLst>
          </p:cNvPr>
          <p:cNvSpPr/>
          <p:nvPr/>
        </p:nvSpPr>
        <p:spPr>
          <a:xfrm>
            <a:off x="5090826" y="4621946"/>
            <a:ext cx="91440" cy="9144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F436F0C1-A640-FDE5-0207-2AE3DFB60F97}"/>
              </a:ext>
            </a:extLst>
          </p:cNvPr>
          <p:cNvSpPr/>
          <p:nvPr/>
        </p:nvSpPr>
        <p:spPr>
          <a:xfrm>
            <a:off x="5090826" y="5207980"/>
            <a:ext cx="91440" cy="9144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53A8CCA1-C4C6-3E5C-EF29-12DD57E2CB05}"/>
              </a:ext>
            </a:extLst>
          </p:cNvPr>
          <p:cNvCxnSpPr/>
          <p:nvPr/>
        </p:nvCxnSpPr>
        <p:spPr>
          <a:xfrm>
            <a:off x="9811611" y="2460527"/>
            <a:ext cx="0" cy="290367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50000"/>
              </a:srgbClr>
            </a:solidFill>
            <a:prstDash val="solid"/>
            <a:miter lim="800000"/>
          </a:ln>
          <a:effectLst/>
        </p:spPr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749797EB-4CF0-0CEB-5BA4-075708465619}"/>
              </a:ext>
            </a:extLst>
          </p:cNvPr>
          <p:cNvSpPr/>
          <p:nvPr/>
        </p:nvSpPr>
        <p:spPr>
          <a:xfrm>
            <a:off x="8311795" y="3092596"/>
            <a:ext cx="3143424" cy="1112363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221F73E1-3301-A786-571B-B79378360FCA}"/>
              </a:ext>
            </a:extLst>
          </p:cNvPr>
          <p:cNvCxnSpPr/>
          <p:nvPr/>
        </p:nvCxnSpPr>
        <p:spPr>
          <a:xfrm>
            <a:off x="8544086" y="4204958"/>
            <a:ext cx="0" cy="1554480"/>
          </a:xfrm>
          <a:prstGeom prst="line">
            <a:avLst/>
          </a:prstGeom>
          <a:noFill/>
          <a:ln w="6350" cap="flat" cmpd="sng" algn="ctr">
            <a:solidFill>
              <a:schemeClr val="accent2"/>
            </a:solidFill>
            <a:prstDash val="solid"/>
            <a:miter lim="800000"/>
          </a:ln>
          <a:effectLst/>
        </p:spPr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529E3C30-72D9-54BE-882A-42A048A896B0}"/>
              </a:ext>
            </a:extLst>
          </p:cNvPr>
          <p:cNvSpPr/>
          <p:nvPr/>
        </p:nvSpPr>
        <p:spPr>
          <a:xfrm>
            <a:off x="8496547" y="4640800"/>
            <a:ext cx="91440" cy="9144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5AD28035-0006-5CB1-08E7-81F428E38D63}"/>
              </a:ext>
            </a:extLst>
          </p:cNvPr>
          <p:cNvSpPr/>
          <p:nvPr/>
        </p:nvSpPr>
        <p:spPr>
          <a:xfrm>
            <a:off x="8496547" y="5226834"/>
            <a:ext cx="91440" cy="9144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DD74C7D8-099D-7D7F-3A67-3F7854A02C37}"/>
              </a:ext>
            </a:extLst>
          </p:cNvPr>
          <p:cNvSpPr/>
          <p:nvPr/>
        </p:nvSpPr>
        <p:spPr>
          <a:xfrm>
            <a:off x="6053073" y="2714260"/>
            <a:ext cx="731520" cy="73152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7FBA38AC-0626-8DAB-7A07-365CF9ED0D67}"/>
              </a:ext>
            </a:extLst>
          </p:cNvPr>
          <p:cNvSpPr/>
          <p:nvPr/>
        </p:nvSpPr>
        <p:spPr>
          <a:xfrm>
            <a:off x="9459293" y="2714260"/>
            <a:ext cx="731520" cy="731520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26A3FAF-7040-F803-A17A-2EF76BA540F6}"/>
              </a:ext>
            </a:extLst>
          </p:cNvPr>
          <p:cNvSpPr txBox="1"/>
          <p:nvPr/>
        </p:nvSpPr>
        <p:spPr>
          <a:xfrm>
            <a:off x="2061856" y="4551803"/>
            <a:ext cx="22622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FFFFFF">
                    <a:lumMod val="50000"/>
                  </a:srgbClr>
                </a:solidFill>
                <a:cs typeface="Arial"/>
              </a:rPr>
              <a:t>Conducted online survey</a:t>
            </a:r>
          </a:p>
          <a:p>
            <a:endParaRPr lang="en-US" sz="1600" dirty="0">
              <a:solidFill>
                <a:srgbClr val="FFFFFF">
                  <a:lumMod val="50000"/>
                </a:srgbClr>
              </a:solidFill>
              <a:cs typeface="Arial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2120275-2DFD-A185-E44E-5793F3F8626C}"/>
              </a:ext>
            </a:extLst>
          </p:cNvPr>
          <p:cNvSpPr txBox="1"/>
          <p:nvPr/>
        </p:nvSpPr>
        <p:spPr>
          <a:xfrm>
            <a:off x="2079042" y="5072052"/>
            <a:ext cx="258020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FFFFFF">
                    <a:lumMod val="50000"/>
                  </a:srgbClr>
                </a:solidFill>
                <a:cs typeface="Arial"/>
              </a:rPr>
              <a:t>Feedback used to design 2 garment sketches.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42D9BDE-39D3-7276-99A7-D2D1C992F019}"/>
              </a:ext>
            </a:extLst>
          </p:cNvPr>
          <p:cNvSpPr txBox="1"/>
          <p:nvPr/>
        </p:nvSpPr>
        <p:spPr>
          <a:xfrm>
            <a:off x="2075662" y="5706629"/>
            <a:ext cx="260056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FFFFFF">
                    <a:lumMod val="50000"/>
                  </a:srgbClr>
                </a:solidFill>
                <a:cs typeface="Arial"/>
              </a:rPr>
              <a:t>Production of 1/3 scale garment prototype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A7638CC-BEF9-17C1-67B6-D3320D6D1AC8}"/>
              </a:ext>
            </a:extLst>
          </p:cNvPr>
          <p:cNvSpPr txBox="1"/>
          <p:nvPr/>
        </p:nvSpPr>
        <p:spPr>
          <a:xfrm>
            <a:off x="5442970" y="4551803"/>
            <a:ext cx="251021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FFFFFF">
                    <a:lumMod val="50000"/>
                  </a:srgbClr>
                </a:solidFill>
                <a:cs typeface="Arial"/>
              </a:rPr>
              <a:t>Target Group: Farmers and applicators.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2FC8BB9B-8226-037C-427D-6C774C08D5C5}"/>
              </a:ext>
            </a:extLst>
          </p:cNvPr>
          <p:cNvSpPr txBox="1"/>
          <p:nvPr/>
        </p:nvSpPr>
        <p:spPr>
          <a:xfrm>
            <a:off x="5442970" y="5149386"/>
            <a:ext cx="279050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FFFFFF">
                    <a:lumMod val="50000"/>
                  </a:srgbClr>
                </a:solidFill>
                <a:cs typeface="Arial"/>
              </a:rPr>
              <a:t>Questionnaire completed by individuals prior to group discussion .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BA32270-F8A7-8633-13BB-52A9EF9802FA}"/>
              </a:ext>
            </a:extLst>
          </p:cNvPr>
          <p:cNvSpPr txBox="1"/>
          <p:nvPr/>
        </p:nvSpPr>
        <p:spPr>
          <a:xfrm>
            <a:off x="8848690" y="4551803"/>
            <a:ext cx="253050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FFFFFF">
                    <a:lumMod val="50000"/>
                  </a:srgbClr>
                </a:solidFill>
                <a:cs typeface="Arial"/>
              </a:rPr>
              <a:t>Target Group: Farmers and applicators.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2073AB3-876A-7CDC-E43A-D11C6E7ABC5F}"/>
              </a:ext>
            </a:extLst>
          </p:cNvPr>
          <p:cNvSpPr txBox="1"/>
          <p:nvPr/>
        </p:nvSpPr>
        <p:spPr>
          <a:xfrm>
            <a:off x="8848690" y="5149386"/>
            <a:ext cx="272809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FFFFFF">
                    <a:lumMod val="50000"/>
                  </a:srgbClr>
                </a:solidFill>
                <a:cs typeface="Arial"/>
              </a:rPr>
              <a:t>Group discussion/feedback: cost, color,  garment features.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C9E14CBA-04AB-3DFB-6C37-165FA889B98B}"/>
              </a:ext>
            </a:extLst>
          </p:cNvPr>
          <p:cNvSpPr/>
          <p:nvPr/>
        </p:nvSpPr>
        <p:spPr>
          <a:xfrm>
            <a:off x="4807142" y="1968056"/>
            <a:ext cx="6793954" cy="4155757"/>
          </a:xfrm>
          <a:prstGeom prst="rect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ys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BDB4C60-BF59-A0D7-7882-8E70BAEFE7FC}"/>
              </a:ext>
            </a:extLst>
          </p:cNvPr>
          <p:cNvSpPr txBox="1"/>
          <p:nvPr/>
        </p:nvSpPr>
        <p:spPr>
          <a:xfrm>
            <a:off x="7236368" y="1862262"/>
            <a:ext cx="2150854" cy="615553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In-person focus group meetings</a:t>
            </a:r>
          </a:p>
        </p:txBody>
      </p:sp>
      <p:pic>
        <p:nvPicPr>
          <p:cNvPr id="79" name="Graphic 78" descr="Syncing cloud with solid fill">
            <a:extLst>
              <a:ext uri="{FF2B5EF4-FFF2-40B4-BE49-F238E27FC236}">
                <a16:creationId xmlns:a16="http://schemas.microsoft.com/office/drawing/2014/main" id="{2069B6E5-0435-1368-FE4C-F64DF681C2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12369" y="3602394"/>
            <a:ext cx="528258" cy="528258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D116AAA7-1DEA-0EC2-F81F-FA53EE171D7F}"/>
              </a:ext>
            </a:extLst>
          </p:cNvPr>
          <p:cNvSpPr txBox="1"/>
          <p:nvPr/>
        </p:nvSpPr>
        <p:spPr>
          <a:xfrm>
            <a:off x="2874005" y="3788035"/>
            <a:ext cx="110624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  <a:latin typeface="Arial" panose="020B0604020202020204"/>
                <a:cs typeface="Arial"/>
              </a:rPr>
              <a:t>Online survey</a:t>
            </a:r>
          </a:p>
        </p:txBody>
      </p:sp>
      <p:pic>
        <p:nvPicPr>
          <p:cNvPr id="81" name="Graphic 80" descr="Meeting with solid fill">
            <a:extLst>
              <a:ext uri="{FF2B5EF4-FFF2-40B4-BE49-F238E27FC236}">
                <a16:creationId xmlns:a16="http://schemas.microsoft.com/office/drawing/2014/main" id="{48DAF340-8F24-40F4-945F-B2C0854C55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38785" y="3469517"/>
            <a:ext cx="787870" cy="787870"/>
          </a:xfrm>
          <a:prstGeom prst="rect">
            <a:avLst/>
          </a:prstGeom>
        </p:spPr>
      </p:pic>
      <p:pic>
        <p:nvPicPr>
          <p:cNvPr id="82" name="Graphic 81" descr="Document with solid fill">
            <a:extLst>
              <a:ext uri="{FF2B5EF4-FFF2-40B4-BE49-F238E27FC236}">
                <a16:creationId xmlns:a16="http://schemas.microsoft.com/office/drawing/2014/main" id="{A3EEB789-4ED0-D385-F82F-1C9F5C7BA7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05825" y="3600300"/>
            <a:ext cx="530352" cy="530352"/>
          </a:xfrm>
          <a:prstGeom prst="rect">
            <a:avLst/>
          </a:prstGeom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951EC99C-AF72-D4E9-8FFA-70FC79A8E30F}"/>
              </a:ext>
            </a:extLst>
          </p:cNvPr>
          <p:cNvSpPr txBox="1"/>
          <p:nvPr/>
        </p:nvSpPr>
        <p:spPr>
          <a:xfrm>
            <a:off x="6411299" y="3863452"/>
            <a:ext cx="118057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  <a:latin typeface="Arial" panose="020B0604020202020204"/>
                <a:cs typeface="Arial"/>
              </a:rPr>
              <a:t>Paper survey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02D01D3-5E3B-B5CF-941D-E6E569EE3CE0}"/>
              </a:ext>
            </a:extLst>
          </p:cNvPr>
          <p:cNvSpPr txBox="1"/>
          <p:nvPr/>
        </p:nvSpPr>
        <p:spPr>
          <a:xfrm>
            <a:off x="9775180" y="3863452"/>
            <a:ext cx="144774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  <a:latin typeface="Arial" panose="020B0604020202020204"/>
                <a:cs typeface="Arial"/>
              </a:rPr>
              <a:t>Group Discussion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3E62E97-76B3-B060-8A0C-296CA7D0EC25}"/>
              </a:ext>
            </a:extLst>
          </p:cNvPr>
          <p:cNvSpPr txBox="1"/>
          <p:nvPr/>
        </p:nvSpPr>
        <p:spPr>
          <a:xfrm>
            <a:off x="5066155" y="5870079"/>
            <a:ext cx="64161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accent2"/>
                </a:solidFill>
                <a:cs typeface="Arial"/>
              </a:rPr>
              <a:t>User input will be used for production of commercial garments.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BFC47D5-602E-A546-3D4C-A9FF53DC1D48}"/>
              </a:ext>
            </a:extLst>
          </p:cNvPr>
          <p:cNvSpPr txBox="1"/>
          <p:nvPr/>
        </p:nvSpPr>
        <p:spPr>
          <a:xfrm>
            <a:off x="99616" y="358444"/>
            <a:ext cx="86871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+mj-lt"/>
              </a:rPr>
              <a:t>User Acceptance Framework: C1 Garment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05AEA159-B269-B19B-B9AA-26C56DCDD52B}"/>
              </a:ext>
            </a:extLst>
          </p:cNvPr>
          <p:cNvSpPr txBox="1"/>
          <p:nvPr/>
        </p:nvSpPr>
        <p:spPr>
          <a:xfrm>
            <a:off x="228833" y="2242491"/>
            <a:ext cx="1196071" cy="161583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Planning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C06C223-D6B6-2E5F-AA30-2AB0421AAB3B}"/>
              </a:ext>
            </a:extLst>
          </p:cNvPr>
          <p:cNvSpPr txBox="1"/>
          <p:nvPr/>
        </p:nvSpPr>
        <p:spPr>
          <a:xfrm>
            <a:off x="2456648" y="2756961"/>
            <a:ext cx="119607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Step 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81FFCD7-1F44-D6DB-A3B0-31A11D61663D}"/>
              </a:ext>
            </a:extLst>
          </p:cNvPr>
          <p:cNvSpPr txBox="1"/>
          <p:nvPr/>
        </p:nvSpPr>
        <p:spPr>
          <a:xfrm>
            <a:off x="5837764" y="2756961"/>
            <a:ext cx="119607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Step 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4BC334F2-9712-784D-69F8-307958FDFC23}"/>
              </a:ext>
            </a:extLst>
          </p:cNvPr>
          <p:cNvSpPr txBox="1"/>
          <p:nvPr/>
        </p:nvSpPr>
        <p:spPr>
          <a:xfrm>
            <a:off x="9224098" y="2771495"/>
            <a:ext cx="1196071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Step </a:t>
            </a:r>
          </a:p>
        </p:txBody>
      </p:sp>
    </p:spTree>
    <p:extLst>
      <p:ext uri="{BB962C8B-B14F-4D97-AF65-F5344CB8AC3E}">
        <p14:creationId xmlns:p14="http://schemas.microsoft.com/office/powerpoint/2010/main" val="28655077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FF47CB7-972F-479F-A36D-9E72D26EC8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153B68-5844-490D-8E67-F616D6D7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1766176" cy="2061837"/>
          </a:xfrm>
          <a:custGeom>
            <a:avLst/>
            <a:gdLst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13657 w 10768629"/>
              <a:gd name="connsiteY144" fmla="*/ 1730706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84330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0768629" h="1978172">
                <a:moveTo>
                  <a:pt x="0" y="0"/>
                </a:moveTo>
                <a:lnTo>
                  <a:pt x="10768629" y="0"/>
                </a:lnTo>
                <a:lnTo>
                  <a:pt x="10733254" y="31439"/>
                </a:lnTo>
                <a:lnTo>
                  <a:pt x="10727085" y="37910"/>
                </a:lnTo>
                <a:cubicBezTo>
                  <a:pt x="10712973" y="56080"/>
                  <a:pt x="10699457" y="78430"/>
                  <a:pt x="10675953" y="68623"/>
                </a:cubicBezTo>
                <a:cubicBezTo>
                  <a:pt x="10685972" y="89202"/>
                  <a:pt x="10641629" y="69781"/>
                  <a:pt x="10637091" y="90361"/>
                </a:cubicBezTo>
                <a:cubicBezTo>
                  <a:pt x="10635214" y="107005"/>
                  <a:pt x="10621323" y="104993"/>
                  <a:pt x="10610971" y="110764"/>
                </a:cubicBezTo>
                <a:cubicBezTo>
                  <a:pt x="10603980" y="127568"/>
                  <a:pt x="10551417" y="141180"/>
                  <a:pt x="10532872" y="138028"/>
                </a:cubicBezTo>
                <a:cubicBezTo>
                  <a:pt x="10480300" y="119072"/>
                  <a:pt x="10440532" y="186296"/>
                  <a:pt x="10398558" y="172911"/>
                </a:cubicBezTo>
                <a:cubicBezTo>
                  <a:pt x="10387708" y="174114"/>
                  <a:pt x="10378792" y="177646"/>
                  <a:pt x="10371128" y="182609"/>
                </a:cubicBezTo>
                <a:lnTo>
                  <a:pt x="10352178" y="199976"/>
                </a:lnTo>
                <a:lnTo>
                  <a:pt x="10351815" y="211879"/>
                </a:lnTo>
                <a:lnTo>
                  <a:pt x="10337471" y="218661"/>
                </a:lnTo>
                <a:lnTo>
                  <a:pt x="10334625" y="222351"/>
                </a:lnTo>
                <a:cubicBezTo>
                  <a:pt x="10321108" y="225227"/>
                  <a:pt x="10278615" y="228401"/>
                  <a:pt x="10256365" y="235917"/>
                </a:cubicBezTo>
                <a:cubicBezTo>
                  <a:pt x="10218136" y="258033"/>
                  <a:pt x="10224552" y="209685"/>
                  <a:pt x="10201127" y="267448"/>
                </a:cubicBezTo>
                <a:cubicBezTo>
                  <a:pt x="10121320" y="273476"/>
                  <a:pt x="10040763" y="345580"/>
                  <a:pt x="9961218" y="326720"/>
                </a:cubicBezTo>
                <a:cubicBezTo>
                  <a:pt x="9980173" y="341621"/>
                  <a:pt x="9883038" y="318484"/>
                  <a:pt x="9859715" y="355698"/>
                </a:cubicBezTo>
                <a:cubicBezTo>
                  <a:pt x="9812822" y="367758"/>
                  <a:pt x="9752089" y="383830"/>
                  <a:pt x="9679867" y="399081"/>
                </a:cubicBezTo>
                <a:cubicBezTo>
                  <a:pt x="9618357" y="415668"/>
                  <a:pt x="9525492" y="446315"/>
                  <a:pt x="9490654" y="455225"/>
                </a:cubicBezTo>
                <a:lnTo>
                  <a:pt x="9470837" y="452539"/>
                </a:lnTo>
                <a:lnTo>
                  <a:pt x="9469082" y="454891"/>
                </a:lnTo>
                <a:cubicBezTo>
                  <a:pt x="9460057" y="461184"/>
                  <a:pt x="9453495" y="461729"/>
                  <a:pt x="9448038" y="459733"/>
                </a:cubicBezTo>
                <a:lnTo>
                  <a:pt x="9396821" y="455795"/>
                </a:lnTo>
                <a:lnTo>
                  <a:pt x="9392197" y="459796"/>
                </a:lnTo>
                <a:lnTo>
                  <a:pt x="9347994" y="464462"/>
                </a:lnTo>
                <a:cubicBezTo>
                  <a:pt x="9347959" y="465155"/>
                  <a:pt x="9347925" y="465846"/>
                  <a:pt x="9347889" y="466539"/>
                </a:cubicBezTo>
                <a:cubicBezTo>
                  <a:pt x="9346648" y="471307"/>
                  <a:pt x="9343831" y="475025"/>
                  <a:pt x="9337639" y="476654"/>
                </a:cubicBezTo>
                <a:cubicBezTo>
                  <a:pt x="9354547" y="503661"/>
                  <a:pt x="9307720" y="510631"/>
                  <a:pt x="9287964" y="513052"/>
                </a:cubicBezTo>
                <a:cubicBezTo>
                  <a:pt x="9269905" y="526173"/>
                  <a:pt x="9245386" y="544358"/>
                  <a:pt x="9229283" y="555377"/>
                </a:cubicBezTo>
                <a:lnTo>
                  <a:pt x="9220274" y="557502"/>
                </a:lnTo>
                <a:cubicBezTo>
                  <a:pt x="9220250" y="557668"/>
                  <a:pt x="9220226" y="557835"/>
                  <a:pt x="9220202" y="558001"/>
                </a:cubicBezTo>
                <a:cubicBezTo>
                  <a:pt x="9218468" y="559434"/>
                  <a:pt x="9215591" y="560497"/>
                  <a:pt x="9210908" y="561147"/>
                </a:cubicBezTo>
                <a:lnTo>
                  <a:pt x="9186374" y="565502"/>
                </a:lnTo>
                <a:lnTo>
                  <a:pt x="9181058" y="569943"/>
                </a:lnTo>
                <a:lnTo>
                  <a:pt x="9167549" y="584727"/>
                </a:lnTo>
                <a:lnTo>
                  <a:pt x="9149110" y="598906"/>
                </a:lnTo>
                <a:cubicBezTo>
                  <a:pt x="9133575" y="594395"/>
                  <a:pt x="9087390" y="636567"/>
                  <a:pt x="9078556" y="644039"/>
                </a:cubicBezTo>
                <a:lnTo>
                  <a:pt x="8996399" y="690055"/>
                </a:lnTo>
                <a:cubicBezTo>
                  <a:pt x="8913147" y="777045"/>
                  <a:pt x="8867993" y="772591"/>
                  <a:pt x="8803791" y="813860"/>
                </a:cubicBezTo>
                <a:cubicBezTo>
                  <a:pt x="8745270" y="819906"/>
                  <a:pt x="8690049" y="823612"/>
                  <a:pt x="8636202" y="848463"/>
                </a:cubicBezTo>
                <a:cubicBezTo>
                  <a:pt x="8594799" y="860014"/>
                  <a:pt x="8568613" y="864779"/>
                  <a:pt x="8555372" y="883171"/>
                </a:cubicBezTo>
                <a:lnTo>
                  <a:pt x="8507229" y="901665"/>
                </a:lnTo>
                <a:lnTo>
                  <a:pt x="8428473" y="927985"/>
                </a:lnTo>
                <a:cubicBezTo>
                  <a:pt x="8428287" y="929817"/>
                  <a:pt x="8428100" y="931648"/>
                  <a:pt x="8427914" y="933480"/>
                </a:cubicBezTo>
                <a:lnTo>
                  <a:pt x="8420327" y="941984"/>
                </a:lnTo>
                <a:lnTo>
                  <a:pt x="8394729" y="948347"/>
                </a:lnTo>
                <a:lnTo>
                  <a:pt x="8380548" y="987916"/>
                </a:lnTo>
                <a:lnTo>
                  <a:pt x="8375330" y="965444"/>
                </a:lnTo>
                <a:cubicBezTo>
                  <a:pt x="8372375" y="964202"/>
                  <a:pt x="8344433" y="977378"/>
                  <a:pt x="8340796" y="980522"/>
                </a:cubicBezTo>
                <a:cubicBezTo>
                  <a:pt x="8328292" y="982128"/>
                  <a:pt x="8319237" y="991089"/>
                  <a:pt x="8304438" y="996739"/>
                </a:cubicBezTo>
                <a:cubicBezTo>
                  <a:pt x="8297193" y="1005683"/>
                  <a:pt x="8289328" y="1014568"/>
                  <a:pt x="8280929" y="1023089"/>
                </a:cubicBezTo>
                <a:lnTo>
                  <a:pt x="8275760" y="1027772"/>
                </a:lnTo>
                <a:lnTo>
                  <a:pt x="8275478" y="1027605"/>
                </a:lnTo>
                <a:cubicBezTo>
                  <a:pt x="8273970" y="1028076"/>
                  <a:pt x="8251461" y="1029408"/>
                  <a:pt x="8249003" y="1032033"/>
                </a:cubicBezTo>
                <a:lnTo>
                  <a:pt x="8203836" y="1037347"/>
                </a:lnTo>
                <a:cubicBezTo>
                  <a:pt x="8172789" y="1049890"/>
                  <a:pt x="8148166" y="1034625"/>
                  <a:pt x="8122936" y="1063113"/>
                </a:cubicBezTo>
                <a:cubicBezTo>
                  <a:pt x="8093850" y="1074757"/>
                  <a:pt x="8066781" y="1075350"/>
                  <a:pt x="8043658" y="1092746"/>
                </a:cubicBezTo>
                <a:cubicBezTo>
                  <a:pt x="8032157" y="1089174"/>
                  <a:pt x="8022145" y="1089998"/>
                  <a:pt x="8015351" y="1105478"/>
                </a:cubicBezTo>
                <a:cubicBezTo>
                  <a:pt x="7987544" y="1113006"/>
                  <a:pt x="7977708" y="1099152"/>
                  <a:pt x="7963145" y="1119346"/>
                </a:cubicBezTo>
                <a:cubicBezTo>
                  <a:pt x="7942622" y="1098880"/>
                  <a:pt x="7943760" y="1109516"/>
                  <a:pt x="7938145" y="1120225"/>
                </a:cubicBezTo>
                <a:lnTo>
                  <a:pt x="7937238" y="1121204"/>
                </a:lnTo>
                <a:lnTo>
                  <a:pt x="7934398" y="1118240"/>
                </a:lnTo>
                <a:lnTo>
                  <a:pt x="7918248" y="1124371"/>
                </a:lnTo>
                <a:lnTo>
                  <a:pt x="7914119" y="1127653"/>
                </a:lnTo>
                <a:cubicBezTo>
                  <a:pt x="7911201" y="1129547"/>
                  <a:pt x="7909169" y="1130331"/>
                  <a:pt x="7907658" y="1130350"/>
                </a:cubicBezTo>
                <a:lnTo>
                  <a:pt x="7907434" y="1130103"/>
                </a:lnTo>
                <a:lnTo>
                  <a:pt x="7901508" y="1133245"/>
                </a:lnTo>
                <a:cubicBezTo>
                  <a:pt x="7891644" y="1139271"/>
                  <a:pt x="7882185" y="1145815"/>
                  <a:pt x="7873287" y="1152609"/>
                </a:cubicBezTo>
                <a:cubicBezTo>
                  <a:pt x="7864672" y="1141906"/>
                  <a:pt x="7845199" y="1159242"/>
                  <a:pt x="7834833" y="1153868"/>
                </a:cubicBezTo>
                <a:lnTo>
                  <a:pt x="7828661" y="1139994"/>
                </a:lnTo>
                <a:lnTo>
                  <a:pt x="7823966" y="1143178"/>
                </a:lnTo>
                <a:lnTo>
                  <a:pt x="7815078" y="1151776"/>
                </a:lnTo>
                <a:cubicBezTo>
                  <a:pt x="7813692" y="1152943"/>
                  <a:pt x="7812687" y="1153116"/>
                  <a:pt x="7812026" y="1151522"/>
                </a:cubicBezTo>
                <a:cubicBezTo>
                  <a:pt x="7806555" y="1153054"/>
                  <a:pt x="7788673" y="1159989"/>
                  <a:pt x="7782249" y="1160970"/>
                </a:cubicBezTo>
                <a:lnTo>
                  <a:pt x="7773476" y="1157414"/>
                </a:lnTo>
                <a:lnTo>
                  <a:pt x="7769600" y="1157365"/>
                </a:lnTo>
                <a:lnTo>
                  <a:pt x="7752631" y="1172815"/>
                </a:lnTo>
                <a:lnTo>
                  <a:pt x="7739392" y="1192062"/>
                </a:lnTo>
                <a:lnTo>
                  <a:pt x="7677677" y="1216394"/>
                </a:lnTo>
                <a:lnTo>
                  <a:pt x="7586920" y="1261888"/>
                </a:lnTo>
                <a:cubicBezTo>
                  <a:pt x="7556723" y="1298911"/>
                  <a:pt x="7489187" y="1284518"/>
                  <a:pt x="7486100" y="1292563"/>
                </a:cubicBezTo>
                <a:cubicBezTo>
                  <a:pt x="7454875" y="1308356"/>
                  <a:pt x="7453335" y="1326361"/>
                  <a:pt x="7411323" y="1340732"/>
                </a:cubicBezTo>
                <a:cubicBezTo>
                  <a:pt x="7372519" y="1390006"/>
                  <a:pt x="7288617" y="1403664"/>
                  <a:pt x="7240698" y="1438832"/>
                </a:cubicBezTo>
                <a:cubicBezTo>
                  <a:pt x="7206467" y="1417136"/>
                  <a:pt x="7227555" y="1441678"/>
                  <a:pt x="7197675" y="1447530"/>
                </a:cubicBezTo>
                <a:cubicBezTo>
                  <a:pt x="7211601" y="1474927"/>
                  <a:pt x="7159483" y="1444981"/>
                  <a:pt x="7164788" y="1480293"/>
                </a:cubicBezTo>
                <a:cubicBezTo>
                  <a:pt x="7159184" y="1480240"/>
                  <a:pt x="7153584" y="1479075"/>
                  <a:pt x="7147929" y="1477641"/>
                </a:cubicBezTo>
                <a:lnTo>
                  <a:pt x="7144965" y="1476908"/>
                </a:lnTo>
                <a:lnTo>
                  <a:pt x="7134299" y="1479969"/>
                </a:lnTo>
                <a:lnTo>
                  <a:pt x="7129809" y="1473339"/>
                </a:lnTo>
                <a:lnTo>
                  <a:pt x="7112688" y="1472575"/>
                </a:lnTo>
                <a:cubicBezTo>
                  <a:pt x="7106506" y="1473449"/>
                  <a:pt x="7100123" y="1475741"/>
                  <a:pt x="7093470" y="1480300"/>
                </a:cubicBezTo>
                <a:cubicBezTo>
                  <a:pt x="7079039" y="1501274"/>
                  <a:pt x="7048991" y="1495718"/>
                  <a:pt x="7025034" y="1506934"/>
                </a:cubicBezTo>
                <a:lnTo>
                  <a:pt x="7014783" y="1515868"/>
                </a:lnTo>
                <a:lnTo>
                  <a:pt x="6979706" y="1523511"/>
                </a:lnTo>
                <a:lnTo>
                  <a:pt x="6977890" y="1525793"/>
                </a:lnTo>
                <a:cubicBezTo>
                  <a:pt x="6971996" y="1527914"/>
                  <a:pt x="6959488" y="1529941"/>
                  <a:pt x="6944339" y="1536237"/>
                </a:cubicBezTo>
                <a:lnTo>
                  <a:pt x="6886996" y="1563569"/>
                </a:lnTo>
                <a:lnTo>
                  <a:pt x="6874510" y="1558469"/>
                </a:lnTo>
                <a:lnTo>
                  <a:pt x="6871943" y="1554651"/>
                </a:lnTo>
                <a:lnTo>
                  <a:pt x="6856174" y="1562024"/>
                </a:lnTo>
                <a:lnTo>
                  <a:pt x="6842321" y="1560554"/>
                </a:lnTo>
                <a:lnTo>
                  <a:pt x="6832713" y="1569357"/>
                </a:lnTo>
                <a:lnTo>
                  <a:pt x="6816351" y="1571495"/>
                </a:lnTo>
                <a:cubicBezTo>
                  <a:pt x="6810216" y="1571510"/>
                  <a:pt x="6803310" y="1571324"/>
                  <a:pt x="6795800" y="1572010"/>
                </a:cubicBezTo>
                <a:lnTo>
                  <a:pt x="6777546" y="1568661"/>
                </a:lnTo>
                <a:lnTo>
                  <a:pt x="6751528" y="1574143"/>
                </a:lnTo>
                <a:cubicBezTo>
                  <a:pt x="6731455" y="1578562"/>
                  <a:pt x="6712054" y="1582098"/>
                  <a:pt x="6691966" y="1582255"/>
                </a:cubicBezTo>
                <a:cubicBezTo>
                  <a:pt x="6677921" y="1590738"/>
                  <a:pt x="6663787" y="1595441"/>
                  <a:pt x="6646941" y="1588471"/>
                </a:cubicBezTo>
                <a:cubicBezTo>
                  <a:pt x="6605135" y="1597971"/>
                  <a:pt x="6598373" y="1612583"/>
                  <a:pt x="6568576" y="1606488"/>
                </a:cubicBezTo>
                <a:cubicBezTo>
                  <a:pt x="6562510" y="1614734"/>
                  <a:pt x="6558067" y="1619360"/>
                  <a:pt x="6554358" y="1621701"/>
                </a:cubicBezTo>
                <a:cubicBezTo>
                  <a:pt x="6543227" y="1628727"/>
                  <a:pt x="6538724" y="1615196"/>
                  <a:pt x="6516968" y="1617195"/>
                </a:cubicBezTo>
                <a:cubicBezTo>
                  <a:pt x="6493173" y="1617368"/>
                  <a:pt x="6528193" y="1598652"/>
                  <a:pt x="6506479" y="1602227"/>
                </a:cubicBezTo>
                <a:cubicBezTo>
                  <a:pt x="6486674" y="1613929"/>
                  <a:pt x="6478484" y="1593997"/>
                  <a:pt x="6458436" y="1607332"/>
                </a:cubicBezTo>
                <a:cubicBezTo>
                  <a:pt x="6471168" y="1620800"/>
                  <a:pt x="6410323" y="1615478"/>
                  <a:pt x="6414786" y="1628815"/>
                </a:cubicBezTo>
                <a:cubicBezTo>
                  <a:pt x="6385942" y="1615041"/>
                  <a:pt x="6386569" y="1640238"/>
                  <a:pt x="6357085" y="1640846"/>
                </a:cubicBezTo>
                <a:cubicBezTo>
                  <a:pt x="6341163" y="1636809"/>
                  <a:pt x="6331497" y="1637754"/>
                  <a:pt x="6322636" y="1648213"/>
                </a:cubicBezTo>
                <a:cubicBezTo>
                  <a:pt x="6248448" y="1627802"/>
                  <a:pt x="6286748" y="1654976"/>
                  <a:pt x="6226172" y="1654676"/>
                </a:cubicBezTo>
                <a:lnTo>
                  <a:pt x="6221217" y="1654506"/>
                </a:lnTo>
                <a:lnTo>
                  <a:pt x="6204956" y="1664280"/>
                </a:lnTo>
                <a:cubicBezTo>
                  <a:pt x="6204728" y="1665114"/>
                  <a:pt x="6204498" y="1665947"/>
                  <a:pt x="6204270" y="1666782"/>
                </a:cubicBezTo>
                <a:lnTo>
                  <a:pt x="6143810" y="1661963"/>
                </a:lnTo>
                <a:lnTo>
                  <a:pt x="6136560" y="1665728"/>
                </a:lnTo>
                <a:lnTo>
                  <a:pt x="6096155" y="1656951"/>
                </a:lnTo>
                <a:lnTo>
                  <a:pt x="6075812" y="1655422"/>
                </a:lnTo>
                <a:lnTo>
                  <a:pt x="6039495" y="1649680"/>
                </a:lnTo>
                <a:lnTo>
                  <a:pt x="6036523" y="1652121"/>
                </a:lnTo>
                <a:lnTo>
                  <a:pt x="6029328" y="1649904"/>
                </a:lnTo>
                <a:lnTo>
                  <a:pt x="6024075" y="1652779"/>
                </a:lnTo>
                <a:lnTo>
                  <a:pt x="6018085" y="1652030"/>
                </a:lnTo>
                <a:cubicBezTo>
                  <a:pt x="6006658" y="1653831"/>
                  <a:pt x="5968194" y="1662035"/>
                  <a:pt x="5955513" y="1663584"/>
                </a:cubicBezTo>
                <a:lnTo>
                  <a:pt x="5941996" y="1661326"/>
                </a:lnTo>
                <a:lnTo>
                  <a:pt x="5931789" y="1669915"/>
                </a:lnTo>
                <a:lnTo>
                  <a:pt x="5888686" y="1672175"/>
                </a:lnTo>
                <a:lnTo>
                  <a:pt x="5873794" y="1665454"/>
                </a:lnTo>
                <a:lnTo>
                  <a:pt x="5860022" y="1660635"/>
                </a:lnTo>
                <a:lnTo>
                  <a:pt x="5858237" y="1660649"/>
                </a:lnTo>
                <a:lnTo>
                  <a:pt x="5840319" y="1660798"/>
                </a:lnTo>
                <a:lnTo>
                  <a:pt x="5806984" y="1661075"/>
                </a:lnTo>
                <a:cubicBezTo>
                  <a:pt x="5785708" y="1661533"/>
                  <a:pt x="5764126" y="1662974"/>
                  <a:pt x="5742351" y="1667489"/>
                </a:cubicBezTo>
                <a:cubicBezTo>
                  <a:pt x="5659069" y="1645168"/>
                  <a:pt x="5615134" y="1706361"/>
                  <a:pt x="5521171" y="1671626"/>
                </a:cubicBezTo>
                <a:cubicBezTo>
                  <a:pt x="5491803" y="1671296"/>
                  <a:pt x="5498089" y="1662666"/>
                  <a:pt x="5457384" y="1683952"/>
                </a:cubicBezTo>
                <a:cubicBezTo>
                  <a:pt x="5356959" y="1699287"/>
                  <a:pt x="5078905" y="1774579"/>
                  <a:pt x="4950070" y="1748401"/>
                </a:cubicBezTo>
                <a:cubicBezTo>
                  <a:pt x="4918276" y="1752255"/>
                  <a:pt x="4891043" y="1756936"/>
                  <a:pt x="4872172" y="1757222"/>
                </a:cubicBezTo>
                <a:lnTo>
                  <a:pt x="4809524" y="1761033"/>
                </a:lnTo>
                <a:cubicBezTo>
                  <a:pt x="4791324" y="1772975"/>
                  <a:pt x="4777258" y="1754591"/>
                  <a:pt x="4759058" y="1766533"/>
                </a:cubicBezTo>
                <a:cubicBezTo>
                  <a:pt x="4747481" y="1770744"/>
                  <a:pt x="4734604" y="1772921"/>
                  <a:pt x="4719749" y="1771811"/>
                </a:cubicBezTo>
                <a:cubicBezTo>
                  <a:pt x="4671168" y="1780243"/>
                  <a:pt x="4634134" y="1775931"/>
                  <a:pt x="4568686" y="1786141"/>
                </a:cubicBezTo>
                <a:cubicBezTo>
                  <a:pt x="4544667" y="1777910"/>
                  <a:pt x="4432547" y="1778168"/>
                  <a:pt x="4418751" y="1796932"/>
                </a:cubicBezTo>
                <a:cubicBezTo>
                  <a:pt x="4403360" y="1801488"/>
                  <a:pt x="4385278" y="1795746"/>
                  <a:pt x="4378377" y="1815528"/>
                </a:cubicBezTo>
                <a:cubicBezTo>
                  <a:pt x="4366870" y="1839461"/>
                  <a:pt x="4337372" y="1814003"/>
                  <a:pt x="4320575" y="1832722"/>
                </a:cubicBezTo>
                <a:cubicBezTo>
                  <a:pt x="4277898" y="1857053"/>
                  <a:pt x="4243945" y="1846759"/>
                  <a:pt x="4211935" y="1860177"/>
                </a:cubicBezTo>
                <a:cubicBezTo>
                  <a:pt x="4181519" y="1859584"/>
                  <a:pt x="4171342" y="1859762"/>
                  <a:pt x="4101228" y="1868717"/>
                </a:cubicBezTo>
                <a:cubicBezTo>
                  <a:pt x="4080159" y="1876188"/>
                  <a:pt x="4039427" y="1877381"/>
                  <a:pt x="3973223" y="1881015"/>
                </a:cubicBezTo>
                <a:cubicBezTo>
                  <a:pt x="3971330" y="1884974"/>
                  <a:pt x="3952843" y="1879225"/>
                  <a:pt x="3900992" y="1880603"/>
                </a:cubicBezTo>
                <a:cubicBezTo>
                  <a:pt x="3849141" y="1881981"/>
                  <a:pt x="3740060" y="1895686"/>
                  <a:pt x="3662119" y="1889285"/>
                </a:cubicBezTo>
                <a:cubicBezTo>
                  <a:pt x="3565155" y="1881322"/>
                  <a:pt x="3613412" y="1915150"/>
                  <a:pt x="3496919" y="1873180"/>
                </a:cubicBezTo>
                <a:cubicBezTo>
                  <a:pt x="3488062" y="1895719"/>
                  <a:pt x="3474293" y="1876288"/>
                  <a:pt x="3449433" y="1889681"/>
                </a:cubicBezTo>
                <a:cubicBezTo>
                  <a:pt x="3406553" y="1891629"/>
                  <a:pt x="3413217" y="1897797"/>
                  <a:pt x="3369766" y="1916653"/>
                </a:cubicBezTo>
                <a:cubicBezTo>
                  <a:pt x="3338805" y="1929531"/>
                  <a:pt x="3289487" y="1928617"/>
                  <a:pt x="3269672" y="1938036"/>
                </a:cubicBezTo>
                <a:lnTo>
                  <a:pt x="3224897" y="1943733"/>
                </a:lnTo>
                <a:cubicBezTo>
                  <a:pt x="3188693" y="1949271"/>
                  <a:pt x="3178540" y="1909145"/>
                  <a:pt x="3161463" y="1946591"/>
                </a:cubicBezTo>
                <a:lnTo>
                  <a:pt x="3112044" y="1935614"/>
                </a:lnTo>
                <a:lnTo>
                  <a:pt x="3069716" y="1930463"/>
                </a:lnTo>
                <a:cubicBezTo>
                  <a:pt x="3049937" y="1924285"/>
                  <a:pt x="3047816" y="1925644"/>
                  <a:pt x="3005773" y="1915878"/>
                </a:cubicBezTo>
                <a:cubicBezTo>
                  <a:pt x="2978838" y="1921092"/>
                  <a:pt x="2967972" y="1927319"/>
                  <a:pt x="2897201" y="1926772"/>
                </a:cubicBezTo>
                <a:lnTo>
                  <a:pt x="2783891" y="1931749"/>
                </a:lnTo>
                <a:cubicBezTo>
                  <a:pt x="2753098" y="1932794"/>
                  <a:pt x="2731621" y="1915151"/>
                  <a:pt x="2712447" y="1933044"/>
                </a:cubicBezTo>
                <a:cubicBezTo>
                  <a:pt x="2621923" y="1990472"/>
                  <a:pt x="2637976" y="1949546"/>
                  <a:pt x="2560151" y="1963609"/>
                </a:cubicBezTo>
                <a:cubicBezTo>
                  <a:pt x="2472084" y="1973456"/>
                  <a:pt x="2423631" y="1962133"/>
                  <a:pt x="2367221" y="1971884"/>
                </a:cubicBezTo>
                <a:cubicBezTo>
                  <a:pt x="2355331" y="1950582"/>
                  <a:pt x="2295649" y="1950006"/>
                  <a:pt x="2272130" y="1961162"/>
                </a:cubicBezTo>
                <a:cubicBezTo>
                  <a:pt x="2229336" y="1964326"/>
                  <a:pt x="2232627" y="1943953"/>
                  <a:pt x="2189404" y="1978172"/>
                </a:cubicBezTo>
                <a:cubicBezTo>
                  <a:pt x="2153824" y="1968017"/>
                  <a:pt x="2114605" y="1969166"/>
                  <a:pt x="2077704" y="1965002"/>
                </a:cubicBezTo>
                <a:cubicBezTo>
                  <a:pt x="2053064" y="1962036"/>
                  <a:pt x="2051584" y="1971011"/>
                  <a:pt x="2033299" y="1969042"/>
                </a:cubicBezTo>
                <a:cubicBezTo>
                  <a:pt x="2015014" y="1967073"/>
                  <a:pt x="1998956" y="1958903"/>
                  <a:pt x="1967996" y="1953187"/>
                </a:cubicBezTo>
                <a:cubicBezTo>
                  <a:pt x="1924117" y="1970917"/>
                  <a:pt x="1915668" y="1940297"/>
                  <a:pt x="1855805" y="1926082"/>
                </a:cubicBezTo>
                <a:cubicBezTo>
                  <a:pt x="1830663" y="1943732"/>
                  <a:pt x="1810564" y="1935694"/>
                  <a:pt x="1790957" y="1919460"/>
                </a:cubicBezTo>
                <a:cubicBezTo>
                  <a:pt x="1732588" y="1924884"/>
                  <a:pt x="1679506" y="1900619"/>
                  <a:pt x="1613978" y="1891581"/>
                </a:cubicBezTo>
                <a:cubicBezTo>
                  <a:pt x="1542961" y="1912227"/>
                  <a:pt x="1506863" y="1865666"/>
                  <a:pt x="1436831" y="1856201"/>
                </a:cubicBezTo>
                <a:cubicBezTo>
                  <a:pt x="1409149" y="1862955"/>
                  <a:pt x="1416370" y="1829853"/>
                  <a:pt x="1357365" y="1832140"/>
                </a:cubicBezTo>
                <a:cubicBezTo>
                  <a:pt x="1285880" y="1811785"/>
                  <a:pt x="1273193" y="1786872"/>
                  <a:pt x="1232341" y="1785942"/>
                </a:cubicBezTo>
                <a:cubicBezTo>
                  <a:pt x="1223903" y="1792798"/>
                  <a:pt x="1160576" y="1793911"/>
                  <a:pt x="1162595" y="1784330"/>
                </a:cubicBezTo>
                <a:cubicBezTo>
                  <a:pt x="1153167" y="1787110"/>
                  <a:pt x="1122206" y="1805077"/>
                  <a:pt x="1120257" y="1789615"/>
                </a:cubicBezTo>
                <a:cubicBezTo>
                  <a:pt x="1073149" y="1786750"/>
                  <a:pt x="1034361" y="1768718"/>
                  <a:pt x="991903" y="1786741"/>
                </a:cubicBezTo>
                <a:cubicBezTo>
                  <a:pt x="966383" y="1781126"/>
                  <a:pt x="949501" y="1800915"/>
                  <a:pt x="883960" y="1809389"/>
                </a:cubicBezTo>
                <a:cubicBezTo>
                  <a:pt x="836064" y="1808194"/>
                  <a:pt x="826980" y="1826610"/>
                  <a:pt x="766531" y="1805053"/>
                </a:cubicBezTo>
                <a:cubicBezTo>
                  <a:pt x="732778" y="1801141"/>
                  <a:pt x="694055" y="1787044"/>
                  <a:pt x="669779" y="1800537"/>
                </a:cubicBezTo>
                <a:cubicBezTo>
                  <a:pt x="645252" y="1794709"/>
                  <a:pt x="563495" y="1813232"/>
                  <a:pt x="523898" y="1811085"/>
                </a:cubicBezTo>
                <a:cubicBezTo>
                  <a:pt x="457555" y="1798530"/>
                  <a:pt x="395227" y="1824052"/>
                  <a:pt x="360251" y="1830735"/>
                </a:cubicBezTo>
                <a:cubicBezTo>
                  <a:pt x="313564" y="1825583"/>
                  <a:pt x="298281" y="1811622"/>
                  <a:pt x="255207" y="1818275"/>
                </a:cubicBezTo>
                <a:cubicBezTo>
                  <a:pt x="206572" y="1839769"/>
                  <a:pt x="160277" y="1836800"/>
                  <a:pt x="101803" y="1870647"/>
                </a:cubicBezTo>
                <a:cubicBezTo>
                  <a:pt x="85849" y="1910002"/>
                  <a:pt x="27997" y="1845258"/>
                  <a:pt x="25397" y="1888443"/>
                </a:cubicBezTo>
                <a:cubicBezTo>
                  <a:pt x="19096" y="1881154"/>
                  <a:pt x="11260" y="1878398"/>
                  <a:pt x="2370" y="1878311"/>
                </a:cubicBezTo>
                <a:lnTo>
                  <a:pt x="0" y="1878785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0D773F-7A7D-4DBB-9DEA-86BB8B8F4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381624" y="6209414"/>
            <a:ext cx="6810375" cy="648586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BFC47D5-602E-A546-3D4C-A9FF53DC1D48}"/>
              </a:ext>
            </a:extLst>
          </p:cNvPr>
          <p:cNvSpPr txBox="1"/>
          <p:nvPr/>
        </p:nvSpPr>
        <p:spPr>
          <a:xfrm>
            <a:off x="63332" y="502810"/>
            <a:ext cx="86871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+mj-lt"/>
              </a:rPr>
              <a:t>Planning for Step 1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4E36E5-7650-6AA6-3E30-14026804E4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2573" y="1363450"/>
            <a:ext cx="3576515" cy="47371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B216EA0-7986-6B22-2B61-3668A69DD4B7}"/>
              </a:ext>
            </a:extLst>
          </p:cNvPr>
          <p:cNvSpPr txBox="1"/>
          <p:nvPr/>
        </p:nvSpPr>
        <p:spPr>
          <a:xfrm>
            <a:off x="-288136" y="1830398"/>
            <a:ext cx="7617850" cy="39085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571500" lvl="0" indent="-342900">
              <a:lnSpc>
                <a:spcPct val="160000"/>
              </a:lnSpc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endParaRPr lang="en-US" sz="2400" dirty="0"/>
          </a:p>
          <a:p>
            <a:pPr marL="1028700" lvl="1" indent="-342900">
              <a:lnSpc>
                <a:spcPct val="160000"/>
              </a:lnSpc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Compiled garment types and features information</a:t>
            </a:r>
          </a:p>
          <a:p>
            <a:pPr marL="1028700" lvl="1" indent="-342900">
              <a:lnSpc>
                <a:spcPct val="160000"/>
              </a:lnSpc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Built on prior user input surveys/interviews</a:t>
            </a:r>
          </a:p>
          <a:p>
            <a:pPr marL="1028700" lvl="1" indent="-342900">
              <a:lnSpc>
                <a:spcPct val="160000"/>
              </a:lnSpc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Developed sketches to consistent communication</a:t>
            </a:r>
          </a:p>
          <a:p>
            <a:pPr marL="1028700" lvl="1" indent="-342900">
              <a:lnSpc>
                <a:spcPct val="160000"/>
              </a:lnSpc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r>
              <a:rPr lang="en-US" sz="2000" dirty="0"/>
              <a:t>Developed online survey for Step 1</a:t>
            </a:r>
          </a:p>
          <a:p>
            <a:pPr marL="1028700" lvl="1" indent="-342900">
              <a:lnSpc>
                <a:spcPct val="160000"/>
              </a:lnSpc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endParaRPr lang="en-US" sz="2400" dirty="0"/>
          </a:p>
          <a:p>
            <a:pPr marL="1028700" lvl="1" indent="-342900">
              <a:lnSpc>
                <a:spcPct val="160000"/>
              </a:lnSpc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endParaRPr lang="en-US" sz="2400" dirty="0"/>
          </a:p>
          <a:p>
            <a:pPr marL="1028700" lvl="1" indent="-342900">
              <a:lnSpc>
                <a:spcPct val="160000"/>
              </a:lnSpc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endParaRPr lang="en-US" sz="2400" dirty="0"/>
          </a:p>
          <a:p>
            <a:pPr marL="1028700" lvl="1" indent="-342900">
              <a:lnSpc>
                <a:spcPct val="160000"/>
              </a:lnSpc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endParaRPr kumimoji="0" lang="en-US" sz="2400" b="0" i="0" u="none" strike="noStrike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041601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FF47CB7-972F-479F-A36D-9E72D26EC8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153B68-5844-490D-8E67-F616D6D7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1766176" cy="2061837"/>
          </a:xfrm>
          <a:custGeom>
            <a:avLst/>
            <a:gdLst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13657 w 10768629"/>
              <a:gd name="connsiteY144" fmla="*/ 1730706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84330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0768629" h="1978172">
                <a:moveTo>
                  <a:pt x="0" y="0"/>
                </a:moveTo>
                <a:lnTo>
                  <a:pt x="10768629" y="0"/>
                </a:lnTo>
                <a:lnTo>
                  <a:pt x="10733254" y="31439"/>
                </a:lnTo>
                <a:lnTo>
                  <a:pt x="10727085" y="37910"/>
                </a:lnTo>
                <a:cubicBezTo>
                  <a:pt x="10712973" y="56080"/>
                  <a:pt x="10699457" y="78430"/>
                  <a:pt x="10675953" y="68623"/>
                </a:cubicBezTo>
                <a:cubicBezTo>
                  <a:pt x="10685972" y="89202"/>
                  <a:pt x="10641629" y="69781"/>
                  <a:pt x="10637091" y="90361"/>
                </a:cubicBezTo>
                <a:cubicBezTo>
                  <a:pt x="10635214" y="107005"/>
                  <a:pt x="10621323" y="104993"/>
                  <a:pt x="10610971" y="110764"/>
                </a:cubicBezTo>
                <a:cubicBezTo>
                  <a:pt x="10603980" y="127568"/>
                  <a:pt x="10551417" y="141180"/>
                  <a:pt x="10532872" y="138028"/>
                </a:cubicBezTo>
                <a:cubicBezTo>
                  <a:pt x="10480300" y="119072"/>
                  <a:pt x="10440532" y="186296"/>
                  <a:pt x="10398558" y="172911"/>
                </a:cubicBezTo>
                <a:cubicBezTo>
                  <a:pt x="10387708" y="174114"/>
                  <a:pt x="10378792" y="177646"/>
                  <a:pt x="10371128" y="182609"/>
                </a:cubicBezTo>
                <a:lnTo>
                  <a:pt x="10352178" y="199976"/>
                </a:lnTo>
                <a:lnTo>
                  <a:pt x="10351815" y="211879"/>
                </a:lnTo>
                <a:lnTo>
                  <a:pt x="10337471" y="218661"/>
                </a:lnTo>
                <a:lnTo>
                  <a:pt x="10334625" y="222351"/>
                </a:lnTo>
                <a:cubicBezTo>
                  <a:pt x="10321108" y="225227"/>
                  <a:pt x="10278615" y="228401"/>
                  <a:pt x="10256365" y="235917"/>
                </a:cubicBezTo>
                <a:cubicBezTo>
                  <a:pt x="10218136" y="258033"/>
                  <a:pt x="10224552" y="209685"/>
                  <a:pt x="10201127" y="267448"/>
                </a:cubicBezTo>
                <a:cubicBezTo>
                  <a:pt x="10121320" y="273476"/>
                  <a:pt x="10040763" y="345580"/>
                  <a:pt x="9961218" y="326720"/>
                </a:cubicBezTo>
                <a:cubicBezTo>
                  <a:pt x="9980173" y="341621"/>
                  <a:pt x="9883038" y="318484"/>
                  <a:pt x="9859715" y="355698"/>
                </a:cubicBezTo>
                <a:cubicBezTo>
                  <a:pt x="9812822" y="367758"/>
                  <a:pt x="9752089" y="383830"/>
                  <a:pt x="9679867" y="399081"/>
                </a:cubicBezTo>
                <a:cubicBezTo>
                  <a:pt x="9618357" y="415668"/>
                  <a:pt x="9525492" y="446315"/>
                  <a:pt x="9490654" y="455225"/>
                </a:cubicBezTo>
                <a:lnTo>
                  <a:pt x="9470837" y="452539"/>
                </a:lnTo>
                <a:lnTo>
                  <a:pt x="9469082" y="454891"/>
                </a:lnTo>
                <a:cubicBezTo>
                  <a:pt x="9460057" y="461184"/>
                  <a:pt x="9453495" y="461729"/>
                  <a:pt x="9448038" y="459733"/>
                </a:cubicBezTo>
                <a:lnTo>
                  <a:pt x="9396821" y="455795"/>
                </a:lnTo>
                <a:lnTo>
                  <a:pt x="9392197" y="459796"/>
                </a:lnTo>
                <a:lnTo>
                  <a:pt x="9347994" y="464462"/>
                </a:lnTo>
                <a:cubicBezTo>
                  <a:pt x="9347959" y="465155"/>
                  <a:pt x="9347925" y="465846"/>
                  <a:pt x="9347889" y="466539"/>
                </a:cubicBezTo>
                <a:cubicBezTo>
                  <a:pt x="9346648" y="471307"/>
                  <a:pt x="9343831" y="475025"/>
                  <a:pt x="9337639" y="476654"/>
                </a:cubicBezTo>
                <a:cubicBezTo>
                  <a:pt x="9354547" y="503661"/>
                  <a:pt x="9307720" y="510631"/>
                  <a:pt x="9287964" y="513052"/>
                </a:cubicBezTo>
                <a:cubicBezTo>
                  <a:pt x="9269905" y="526173"/>
                  <a:pt x="9245386" y="544358"/>
                  <a:pt x="9229283" y="555377"/>
                </a:cubicBezTo>
                <a:lnTo>
                  <a:pt x="9220274" y="557502"/>
                </a:lnTo>
                <a:cubicBezTo>
                  <a:pt x="9220250" y="557668"/>
                  <a:pt x="9220226" y="557835"/>
                  <a:pt x="9220202" y="558001"/>
                </a:cubicBezTo>
                <a:cubicBezTo>
                  <a:pt x="9218468" y="559434"/>
                  <a:pt x="9215591" y="560497"/>
                  <a:pt x="9210908" y="561147"/>
                </a:cubicBezTo>
                <a:lnTo>
                  <a:pt x="9186374" y="565502"/>
                </a:lnTo>
                <a:lnTo>
                  <a:pt x="9181058" y="569943"/>
                </a:lnTo>
                <a:lnTo>
                  <a:pt x="9167549" y="584727"/>
                </a:lnTo>
                <a:lnTo>
                  <a:pt x="9149110" y="598906"/>
                </a:lnTo>
                <a:cubicBezTo>
                  <a:pt x="9133575" y="594395"/>
                  <a:pt x="9087390" y="636567"/>
                  <a:pt x="9078556" y="644039"/>
                </a:cubicBezTo>
                <a:lnTo>
                  <a:pt x="8996399" y="690055"/>
                </a:lnTo>
                <a:cubicBezTo>
                  <a:pt x="8913147" y="777045"/>
                  <a:pt x="8867993" y="772591"/>
                  <a:pt x="8803791" y="813860"/>
                </a:cubicBezTo>
                <a:cubicBezTo>
                  <a:pt x="8745270" y="819906"/>
                  <a:pt x="8690049" y="823612"/>
                  <a:pt x="8636202" y="848463"/>
                </a:cubicBezTo>
                <a:cubicBezTo>
                  <a:pt x="8594799" y="860014"/>
                  <a:pt x="8568613" y="864779"/>
                  <a:pt x="8555372" y="883171"/>
                </a:cubicBezTo>
                <a:lnTo>
                  <a:pt x="8507229" y="901665"/>
                </a:lnTo>
                <a:lnTo>
                  <a:pt x="8428473" y="927985"/>
                </a:lnTo>
                <a:cubicBezTo>
                  <a:pt x="8428287" y="929817"/>
                  <a:pt x="8428100" y="931648"/>
                  <a:pt x="8427914" y="933480"/>
                </a:cubicBezTo>
                <a:lnTo>
                  <a:pt x="8420327" y="941984"/>
                </a:lnTo>
                <a:lnTo>
                  <a:pt x="8394729" y="948347"/>
                </a:lnTo>
                <a:lnTo>
                  <a:pt x="8380548" y="987916"/>
                </a:lnTo>
                <a:lnTo>
                  <a:pt x="8375330" y="965444"/>
                </a:lnTo>
                <a:cubicBezTo>
                  <a:pt x="8372375" y="964202"/>
                  <a:pt x="8344433" y="977378"/>
                  <a:pt x="8340796" y="980522"/>
                </a:cubicBezTo>
                <a:cubicBezTo>
                  <a:pt x="8328292" y="982128"/>
                  <a:pt x="8319237" y="991089"/>
                  <a:pt x="8304438" y="996739"/>
                </a:cubicBezTo>
                <a:cubicBezTo>
                  <a:pt x="8297193" y="1005683"/>
                  <a:pt x="8289328" y="1014568"/>
                  <a:pt x="8280929" y="1023089"/>
                </a:cubicBezTo>
                <a:lnTo>
                  <a:pt x="8275760" y="1027772"/>
                </a:lnTo>
                <a:lnTo>
                  <a:pt x="8275478" y="1027605"/>
                </a:lnTo>
                <a:cubicBezTo>
                  <a:pt x="8273970" y="1028076"/>
                  <a:pt x="8251461" y="1029408"/>
                  <a:pt x="8249003" y="1032033"/>
                </a:cubicBezTo>
                <a:lnTo>
                  <a:pt x="8203836" y="1037347"/>
                </a:lnTo>
                <a:cubicBezTo>
                  <a:pt x="8172789" y="1049890"/>
                  <a:pt x="8148166" y="1034625"/>
                  <a:pt x="8122936" y="1063113"/>
                </a:cubicBezTo>
                <a:cubicBezTo>
                  <a:pt x="8093850" y="1074757"/>
                  <a:pt x="8066781" y="1075350"/>
                  <a:pt x="8043658" y="1092746"/>
                </a:cubicBezTo>
                <a:cubicBezTo>
                  <a:pt x="8032157" y="1089174"/>
                  <a:pt x="8022145" y="1089998"/>
                  <a:pt x="8015351" y="1105478"/>
                </a:cubicBezTo>
                <a:cubicBezTo>
                  <a:pt x="7987544" y="1113006"/>
                  <a:pt x="7977708" y="1099152"/>
                  <a:pt x="7963145" y="1119346"/>
                </a:cubicBezTo>
                <a:cubicBezTo>
                  <a:pt x="7942622" y="1098880"/>
                  <a:pt x="7943760" y="1109516"/>
                  <a:pt x="7938145" y="1120225"/>
                </a:cubicBezTo>
                <a:lnTo>
                  <a:pt x="7937238" y="1121204"/>
                </a:lnTo>
                <a:lnTo>
                  <a:pt x="7934398" y="1118240"/>
                </a:lnTo>
                <a:lnTo>
                  <a:pt x="7918248" y="1124371"/>
                </a:lnTo>
                <a:lnTo>
                  <a:pt x="7914119" y="1127653"/>
                </a:lnTo>
                <a:cubicBezTo>
                  <a:pt x="7911201" y="1129547"/>
                  <a:pt x="7909169" y="1130331"/>
                  <a:pt x="7907658" y="1130350"/>
                </a:cubicBezTo>
                <a:lnTo>
                  <a:pt x="7907434" y="1130103"/>
                </a:lnTo>
                <a:lnTo>
                  <a:pt x="7901508" y="1133245"/>
                </a:lnTo>
                <a:cubicBezTo>
                  <a:pt x="7891644" y="1139271"/>
                  <a:pt x="7882185" y="1145815"/>
                  <a:pt x="7873287" y="1152609"/>
                </a:cubicBezTo>
                <a:cubicBezTo>
                  <a:pt x="7864672" y="1141906"/>
                  <a:pt x="7845199" y="1159242"/>
                  <a:pt x="7834833" y="1153868"/>
                </a:cubicBezTo>
                <a:lnTo>
                  <a:pt x="7828661" y="1139994"/>
                </a:lnTo>
                <a:lnTo>
                  <a:pt x="7823966" y="1143178"/>
                </a:lnTo>
                <a:lnTo>
                  <a:pt x="7815078" y="1151776"/>
                </a:lnTo>
                <a:cubicBezTo>
                  <a:pt x="7813692" y="1152943"/>
                  <a:pt x="7812687" y="1153116"/>
                  <a:pt x="7812026" y="1151522"/>
                </a:cubicBezTo>
                <a:cubicBezTo>
                  <a:pt x="7806555" y="1153054"/>
                  <a:pt x="7788673" y="1159989"/>
                  <a:pt x="7782249" y="1160970"/>
                </a:cubicBezTo>
                <a:lnTo>
                  <a:pt x="7773476" y="1157414"/>
                </a:lnTo>
                <a:lnTo>
                  <a:pt x="7769600" y="1157365"/>
                </a:lnTo>
                <a:lnTo>
                  <a:pt x="7752631" y="1172815"/>
                </a:lnTo>
                <a:lnTo>
                  <a:pt x="7739392" y="1192062"/>
                </a:lnTo>
                <a:lnTo>
                  <a:pt x="7677677" y="1216394"/>
                </a:lnTo>
                <a:lnTo>
                  <a:pt x="7586920" y="1261888"/>
                </a:lnTo>
                <a:cubicBezTo>
                  <a:pt x="7556723" y="1298911"/>
                  <a:pt x="7489187" y="1284518"/>
                  <a:pt x="7486100" y="1292563"/>
                </a:cubicBezTo>
                <a:cubicBezTo>
                  <a:pt x="7454875" y="1308356"/>
                  <a:pt x="7453335" y="1326361"/>
                  <a:pt x="7411323" y="1340732"/>
                </a:cubicBezTo>
                <a:cubicBezTo>
                  <a:pt x="7372519" y="1390006"/>
                  <a:pt x="7288617" y="1403664"/>
                  <a:pt x="7240698" y="1438832"/>
                </a:cubicBezTo>
                <a:cubicBezTo>
                  <a:pt x="7206467" y="1417136"/>
                  <a:pt x="7227555" y="1441678"/>
                  <a:pt x="7197675" y="1447530"/>
                </a:cubicBezTo>
                <a:cubicBezTo>
                  <a:pt x="7211601" y="1474927"/>
                  <a:pt x="7159483" y="1444981"/>
                  <a:pt x="7164788" y="1480293"/>
                </a:cubicBezTo>
                <a:cubicBezTo>
                  <a:pt x="7159184" y="1480240"/>
                  <a:pt x="7153584" y="1479075"/>
                  <a:pt x="7147929" y="1477641"/>
                </a:cubicBezTo>
                <a:lnTo>
                  <a:pt x="7144965" y="1476908"/>
                </a:lnTo>
                <a:lnTo>
                  <a:pt x="7134299" y="1479969"/>
                </a:lnTo>
                <a:lnTo>
                  <a:pt x="7129809" y="1473339"/>
                </a:lnTo>
                <a:lnTo>
                  <a:pt x="7112688" y="1472575"/>
                </a:lnTo>
                <a:cubicBezTo>
                  <a:pt x="7106506" y="1473449"/>
                  <a:pt x="7100123" y="1475741"/>
                  <a:pt x="7093470" y="1480300"/>
                </a:cubicBezTo>
                <a:cubicBezTo>
                  <a:pt x="7079039" y="1501274"/>
                  <a:pt x="7048991" y="1495718"/>
                  <a:pt x="7025034" y="1506934"/>
                </a:cubicBezTo>
                <a:lnTo>
                  <a:pt x="7014783" y="1515868"/>
                </a:lnTo>
                <a:lnTo>
                  <a:pt x="6979706" y="1523511"/>
                </a:lnTo>
                <a:lnTo>
                  <a:pt x="6977890" y="1525793"/>
                </a:lnTo>
                <a:cubicBezTo>
                  <a:pt x="6971996" y="1527914"/>
                  <a:pt x="6959488" y="1529941"/>
                  <a:pt x="6944339" y="1536237"/>
                </a:cubicBezTo>
                <a:lnTo>
                  <a:pt x="6886996" y="1563569"/>
                </a:lnTo>
                <a:lnTo>
                  <a:pt x="6874510" y="1558469"/>
                </a:lnTo>
                <a:lnTo>
                  <a:pt x="6871943" y="1554651"/>
                </a:lnTo>
                <a:lnTo>
                  <a:pt x="6856174" y="1562024"/>
                </a:lnTo>
                <a:lnTo>
                  <a:pt x="6842321" y="1560554"/>
                </a:lnTo>
                <a:lnTo>
                  <a:pt x="6832713" y="1569357"/>
                </a:lnTo>
                <a:lnTo>
                  <a:pt x="6816351" y="1571495"/>
                </a:lnTo>
                <a:cubicBezTo>
                  <a:pt x="6810216" y="1571510"/>
                  <a:pt x="6803310" y="1571324"/>
                  <a:pt x="6795800" y="1572010"/>
                </a:cubicBezTo>
                <a:lnTo>
                  <a:pt x="6777546" y="1568661"/>
                </a:lnTo>
                <a:lnTo>
                  <a:pt x="6751528" y="1574143"/>
                </a:lnTo>
                <a:cubicBezTo>
                  <a:pt x="6731455" y="1578562"/>
                  <a:pt x="6712054" y="1582098"/>
                  <a:pt x="6691966" y="1582255"/>
                </a:cubicBezTo>
                <a:cubicBezTo>
                  <a:pt x="6677921" y="1590738"/>
                  <a:pt x="6663787" y="1595441"/>
                  <a:pt x="6646941" y="1588471"/>
                </a:cubicBezTo>
                <a:cubicBezTo>
                  <a:pt x="6605135" y="1597971"/>
                  <a:pt x="6598373" y="1612583"/>
                  <a:pt x="6568576" y="1606488"/>
                </a:cubicBezTo>
                <a:cubicBezTo>
                  <a:pt x="6562510" y="1614734"/>
                  <a:pt x="6558067" y="1619360"/>
                  <a:pt x="6554358" y="1621701"/>
                </a:cubicBezTo>
                <a:cubicBezTo>
                  <a:pt x="6543227" y="1628727"/>
                  <a:pt x="6538724" y="1615196"/>
                  <a:pt x="6516968" y="1617195"/>
                </a:cubicBezTo>
                <a:cubicBezTo>
                  <a:pt x="6493173" y="1617368"/>
                  <a:pt x="6528193" y="1598652"/>
                  <a:pt x="6506479" y="1602227"/>
                </a:cubicBezTo>
                <a:cubicBezTo>
                  <a:pt x="6486674" y="1613929"/>
                  <a:pt x="6478484" y="1593997"/>
                  <a:pt x="6458436" y="1607332"/>
                </a:cubicBezTo>
                <a:cubicBezTo>
                  <a:pt x="6471168" y="1620800"/>
                  <a:pt x="6410323" y="1615478"/>
                  <a:pt x="6414786" y="1628815"/>
                </a:cubicBezTo>
                <a:cubicBezTo>
                  <a:pt x="6385942" y="1615041"/>
                  <a:pt x="6386569" y="1640238"/>
                  <a:pt x="6357085" y="1640846"/>
                </a:cubicBezTo>
                <a:cubicBezTo>
                  <a:pt x="6341163" y="1636809"/>
                  <a:pt x="6331497" y="1637754"/>
                  <a:pt x="6322636" y="1648213"/>
                </a:cubicBezTo>
                <a:cubicBezTo>
                  <a:pt x="6248448" y="1627802"/>
                  <a:pt x="6286748" y="1654976"/>
                  <a:pt x="6226172" y="1654676"/>
                </a:cubicBezTo>
                <a:lnTo>
                  <a:pt x="6221217" y="1654506"/>
                </a:lnTo>
                <a:lnTo>
                  <a:pt x="6204956" y="1664280"/>
                </a:lnTo>
                <a:cubicBezTo>
                  <a:pt x="6204728" y="1665114"/>
                  <a:pt x="6204498" y="1665947"/>
                  <a:pt x="6204270" y="1666782"/>
                </a:cubicBezTo>
                <a:lnTo>
                  <a:pt x="6143810" y="1661963"/>
                </a:lnTo>
                <a:lnTo>
                  <a:pt x="6136560" y="1665728"/>
                </a:lnTo>
                <a:lnTo>
                  <a:pt x="6096155" y="1656951"/>
                </a:lnTo>
                <a:lnTo>
                  <a:pt x="6075812" y="1655422"/>
                </a:lnTo>
                <a:lnTo>
                  <a:pt x="6039495" y="1649680"/>
                </a:lnTo>
                <a:lnTo>
                  <a:pt x="6036523" y="1652121"/>
                </a:lnTo>
                <a:lnTo>
                  <a:pt x="6029328" y="1649904"/>
                </a:lnTo>
                <a:lnTo>
                  <a:pt x="6024075" y="1652779"/>
                </a:lnTo>
                <a:lnTo>
                  <a:pt x="6018085" y="1652030"/>
                </a:lnTo>
                <a:cubicBezTo>
                  <a:pt x="6006658" y="1653831"/>
                  <a:pt x="5968194" y="1662035"/>
                  <a:pt x="5955513" y="1663584"/>
                </a:cubicBezTo>
                <a:lnTo>
                  <a:pt x="5941996" y="1661326"/>
                </a:lnTo>
                <a:lnTo>
                  <a:pt x="5931789" y="1669915"/>
                </a:lnTo>
                <a:lnTo>
                  <a:pt x="5888686" y="1672175"/>
                </a:lnTo>
                <a:lnTo>
                  <a:pt x="5873794" y="1665454"/>
                </a:lnTo>
                <a:lnTo>
                  <a:pt x="5860022" y="1660635"/>
                </a:lnTo>
                <a:lnTo>
                  <a:pt x="5858237" y="1660649"/>
                </a:lnTo>
                <a:lnTo>
                  <a:pt x="5840319" y="1660798"/>
                </a:lnTo>
                <a:lnTo>
                  <a:pt x="5806984" y="1661075"/>
                </a:lnTo>
                <a:cubicBezTo>
                  <a:pt x="5785708" y="1661533"/>
                  <a:pt x="5764126" y="1662974"/>
                  <a:pt x="5742351" y="1667489"/>
                </a:cubicBezTo>
                <a:cubicBezTo>
                  <a:pt x="5659069" y="1645168"/>
                  <a:pt x="5615134" y="1706361"/>
                  <a:pt x="5521171" y="1671626"/>
                </a:cubicBezTo>
                <a:cubicBezTo>
                  <a:pt x="5491803" y="1671296"/>
                  <a:pt x="5498089" y="1662666"/>
                  <a:pt x="5457384" y="1683952"/>
                </a:cubicBezTo>
                <a:cubicBezTo>
                  <a:pt x="5356959" y="1699287"/>
                  <a:pt x="5078905" y="1774579"/>
                  <a:pt x="4950070" y="1748401"/>
                </a:cubicBezTo>
                <a:cubicBezTo>
                  <a:pt x="4918276" y="1752255"/>
                  <a:pt x="4891043" y="1756936"/>
                  <a:pt x="4872172" y="1757222"/>
                </a:cubicBezTo>
                <a:lnTo>
                  <a:pt x="4809524" y="1761033"/>
                </a:lnTo>
                <a:cubicBezTo>
                  <a:pt x="4791324" y="1772975"/>
                  <a:pt x="4777258" y="1754591"/>
                  <a:pt x="4759058" y="1766533"/>
                </a:cubicBezTo>
                <a:cubicBezTo>
                  <a:pt x="4747481" y="1770744"/>
                  <a:pt x="4734604" y="1772921"/>
                  <a:pt x="4719749" y="1771811"/>
                </a:cubicBezTo>
                <a:cubicBezTo>
                  <a:pt x="4671168" y="1780243"/>
                  <a:pt x="4634134" y="1775931"/>
                  <a:pt x="4568686" y="1786141"/>
                </a:cubicBezTo>
                <a:cubicBezTo>
                  <a:pt x="4544667" y="1777910"/>
                  <a:pt x="4432547" y="1778168"/>
                  <a:pt x="4418751" y="1796932"/>
                </a:cubicBezTo>
                <a:cubicBezTo>
                  <a:pt x="4403360" y="1801488"/>
                  <a:pt x="4385278" y="1795746"/>
                  <a:pt x="4378377" y="1815528"/>
                </a:cubicBezTo>
                <a:cubicBezTo>
                  <a:pt x="4366870" y="1839461"/>
                  <a:pt x="4337372" y="1814003"/>
                  <a:pt x="4320575" y="1832722"/>
                </a:cubicBezTo>
                <a:cubicBezTo>
                  <a:pt x="4277898" y="1857053"/>
                  <a:pt x="4243945" y="1846759"/>
                  <a:pt x="4211935" y="1860177"/>
                </a:cubicBezTo>
                <a:cubicBezTo>
                  <a:pt x="4181519" y="1859584"/>
                  <a:pt x="4171342" y="1859762"/>
                  <a:pt x="4101228" y="1868717"/>
                </a:cubicBezTo>
                <a:cubicBezTo>
                  <a:pt x="4080159" y="1876188"/>
                  <a:pt x="4039427" y="1877381"/>
                  <a:pt x="3973223" y="1881015"/>
                </a:cubicBezTo>
                <a:cubicBezTo>
                  <a:pt x="3971330" y="1884974"/>
                  <a:pt x="3952843" y="1879225"/>
                  <a:pt x="3900992" y="1880603"/>
                </a:cubicBezTo>
                <a:cubicBezTo>
                  <a:pt x="3849141" y="1881981"/>
                  <a:pt x="3740060" y="1895686"/>
                  <a:pt x="3662119" y="1889285"/>
                </a:cubicBezTo>
                <a:cubicBezTo>
                  <a:pt x="3565155" y="1881322"/>
                  <a:pt x="3613412" y="1915150"/>
                  <a:pt x="3496919" y="1873180"/>
                </a:cubicBezTo>
                <a:cubicBezTo>
                  <a:pt x="3488062" y="1895719"/>
                  <a:pt x="3474293" y="1876288"/>
                  <a:pt x="3449433" y="1889681"/>
                </a:cubicBezTo>
                <a:cubicBezTo>
                  <a:pt x="3406553" y="1891629"/>
                  <a:pt x="3413217" y="1897797"/>
                  <a:pt x="3369766" y="1916653"/>
                </a:cubicBezTo>
                <a:cubicBezTo>
                  <a:pt x="3338805" y="1929531"/>
                  <a:pt x="3289487" y="1928617"/>
                  <a:pt x="3269672" y="1938036"/>
                </a:cubicBezTo>
                <a:lnTo>
                  <a:pt x="3224897" y="1943733"/>
                </a:lnTo>
                <a:cubicBezTo>
                  <a:pt x="3188693" y="1949271"/>
                  <a:pt x="3178540" y="1909145"/>
                  <a:pt x="3161463" y="1946591"/>
                </a:cubicBezTo>
                <a:lnTo>
                  <a:pt x="3112044" y="1935614"/>
                </a:lnTo>
                <a:lnTo>
                  <a:pt x="3069716" y="1930463"/>
                </a:lnTo>
                <a:cubicBezTo>
                  <a:pt x="3049937" y="1924285"/>
                  <a:pt x="3047816" y="1925644"/>
                  <a:pt x="3005773" y="1915878"/>
                </a:cubicBezTo>
                <a:cubicBezTo>
                  <a:pt x="2978838" y="1921092"/>
                  <a:pt x="2967972" y="1927319"/>
                  <a:pt x="2897201" y="1926772"/>
                </a:cubicBezTo>
                <a:lnTo>
                  <a:pt x="2783891" y="1931749"/>
                </a:lnTo>
                <a:cubicBezTo>
                  <a:pt x="2753098" y="1932794"/>
                  <a:pt x="2731621" y="1915151"/>
                  <a:pt x="2712447" y="1933044"/>
                </a:cubicBezTo>
                <a:cubicBezTo>
                  <a:pt x="2621923" y="1990472"/>
                  <a:pt x="2637976" y="1949546"/>
                  <a:pt x="2560151" y="1963609"/>
                </a:cubicBezTo>
                <a:cubicBezTo>
                  <a:pt x="2472084" y="1973456"/>
                  <a:pt x="2423631" y="1962133"/>
                  <a:pt x="2367221" y="1971884"/>
                </a:cubicBezTo>
                <a:cubicBezTo>
                  <a:pt x="2355331" y="1950582"/>
                  <a:pt x="2295649" y="1950006"/>
                  <a:pt x="2272130" y="1961162"/>
                </a:cubicBezTo>
                <a:cubicBezTo>
                  <a:pt x="2229336" y="1964326"/>
                  <a:pt x="2232627" y="1943953"/>
                  <a:pt x="2189404" y="1978172"/>
                </a:cubicBezTo>
                <a:cubicBezTo>
                  <a:pt x="2153824" y="1968017"/>
                  <a:pt x="2114605" y="1969166"/>
                  <a:pt x="2077704" y="1965002"/>
                </a:cubicBezTo>
                <a:cubicBezTo>
                  <a:pt x="2053064" y="1962036"/>
                  <a:pt x="2051584" y="1971011"/>
                  <a:pt x="2033299" y="1969042"/>
                </a:cubicBezTo>
                <a:cubicBezTo>
                  <a:pt x="2015014" y="1967073"/>
                  <a:pt x="1998956" y="1958903"/>
                  <a:pt x="1967996" y="1953187"/>
                </a:cubicBezTo>
                <a:cubicBezTo>
                  <a:pt x="1924117" y="1970917"/>
                  <a:pt x="1915668" y="1940297"/>
                  <a:pt x="1855805" y="1926082"/>
                </a:cubicBezTo>
                <a:cubicBezTo>
                  <a:pt x="1830663" y="1943732"/>
                  <a:pt x="1810564" y="1935694"/>
                  <a:pt x="1790957" y="1919460"/>
                </a:cubicBezTo>
                <a:cubicBezTo>
                  <a:pt x="1732588" y="1924884"/>
                  <a:pt x="1679506" y="1900619"/>
                  <a:pt x="1613978" y="1891581"/>
                </a:cubicBezTo>
                <a:cubicBezTo>
                  <a:pt x="1542961" y="1912227"/>
                  <a:pt x="1506863" y="1865666"/>
                  <a:pt x="1436831" y="1856201"/>
                </a:cubicBezTo>
                <a:cubicBezTo>
                  <a:pt x="1409149" y="1862955"/>
                  <a:pt x="1416370" y="1829853"/>
                  <a:pt x="1357365" y="1832140"/>
                </a:cubicBezTo>
                <a:cubicBezTo>
                  <a:pt x="1285880" y="1811785"/>
                  <a:pt x="1273193" y="1786872"/>
                  <a:pt x="1232341" y="1785942"/>
                </a:cubicBezTo>
                <a:cubicBezTo>
                  <a:pt x="1223903" y="1792798"/>
                  <a:pt x="1160576" y="1793911"/>
                  <a:pt x="1162595" y="1784330"/>
                </a:cubicBezTo>
                <a:cubicBezTo>
                  <a:pt x="1153167" y="1787110"/>
                  <a:pt x="1122206" y="1805077"/>
                  <a:pt x="1120257" y="1789615"/>
                </a:cubicBezTo>
                <a:cubicBezTo>
                  <a:pt x="1073149" y="1786750"/>
                  <a:pt x="1034361" y="1768718"/>
                  <a:pt x="991903" y="1786741"/>
                </a:cubicBezTo>
                <a:cubicBezTo>
                  <a:pt x="966383" y="1781126"/>
                  <a:pt x="949501" y="1800915"/>
                  <a:pt x="883960" y="1809389"/>
                </a:cubicBezTo>
                <a:cubicBezTo>
                  <a:pt x="836064" y="1808194"/>
                  <a:pt x="826980" y="1826610"/>
                  <a:pt x="766531" y="1805053"/>
                </a:cubicBezTo>
                <a:cubicBezTo>
                  <a:pt x="732778" y="1801141"/>
                  <a:pt x="694055" y="1787044"/>
                  <a:pt x="669779" y="1800537"/>
                </a:cubicBezTo>
                <a:cubicBezTo>
                  <a:pt x="645252" y="1794709"/>
                  <a:pt x="563495" y="1813232"/>
                  <a:pt x="523898" y="1811085"/>
                </a:cubicBezTo>
                <a:cubicBezTo>
                  <a:pt x="457555" y="1798530"/>
                  <a:pt x="395227" y="1824052"/>
                  <a:pt x="360251" y="1830735"/>
                </a:cubicBezTo>
                <a:cubicBezTo>
                  <a:pt x="313564" y="1825583"/>
                  <a:pt x="298281" y="1811622"/>
                  <a:pt x="255207" y="1818275"/>
                </a:cubicBezTo>
                <a:cubicBezTo>
                  <a:pt x="206572" y="1839769"/>
                  <a:pt x="160277" y="1836800"/>
                  <a:pt x="101803" y="1870647"/>
                </a:cubicBezTo>
                <a:cubicBezTo>
                  <a:pt x="85849" y="1910002"/>
                  <a:pt x="27997" y="1845258"/>
                  <a:pt x="25397" y="1888443"/>
                </a:cubicBezTo>
                <a:cubicBezTo>
                  <a:pt x="19096" y="1881154"/>
                  <a:pt x="11260" y="1878398"/>
                  <a:pt x="2370" y="1878311"/>
                </a:cubicBezTo>
                <a:lnTo>
                  <a:pt x="0" y="1878785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0D773F-7A7D-4DBB-9DEA-86BB8B8F4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381624" y="6209414"/>
            <a:ext cx="6810375" cy="648586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7EBD79-055B-A5F0-342C-AD101E52EFF6}"/>
              </a:ext>
            </a:extLst>
          </p:cNvPr>
          <p:cNvSpPr txBox="1"/>
          <p:nvPr/>
        </p:nvSpPr>
        <p:spPr>
          <a:xfrm>
            <a:off x="240442" y="1841501"/>
            <a:ext cx="7213302" cy="45350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lvl="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etings with BASF and Syngenta team working with farmers/applicators in Kenya</a:t>
            </a:r>
          </a:p>
          <a:p>
            <a:pPr marL="342900" lvl="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nline survey to obtain feedback from persons working with farmers</a:t>
            </a:r>
          </a:p>
          <a:p>
            <a:pPr marL="342900" lvl="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wo garment prototypes finalized for Step 2</a:t>
            </a:r>
          </a:p>
          <a:p>
            <a:pPr marL="342900" lvl="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estionnaire finalized for Step 2</a:t>
            </a:r>
          </a:p>
          <a:p>
            <a:pPr marL="342900" lvl="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defRPr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3686A2A-C90B-DE65-D39F-665814CEF140}"/>
              </a:ext>
            </a:extLst>
          </p:cNvPr>
          <p:cNvSpPr txBox="1"/>
          <p:nvPr/>
        </p:nvSpPr>
        <p:spPr>
          <a:xfrm>
            <a:off x="240442" y="445634"/>
            <a:ext cx="72133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+mj-lt"/>
              </a:rPr>
              <a:t>Step 1 – Input from “local” experts 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26AF38-65B3-4A65-D4DF-E1795FF69F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44557" y="1091965"/>
            <a:ext cx="3062061" cy="4535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370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7FF47CB7-972F-479F-A36D-9E72D26EC8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D153B68-5844-490D-8E67-F616D6D721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11766176" cy="2061837"/>
          </a:xfrm>
          <a:custGeom>
            <a:avLst/>
            <a:gdLst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13657 w 10768629"/>
              <a:gd name="connsiteY144" fmla="*/ 1730706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18446 w 10768629"/>
              <a:gd name="connsiteY143" fmla="*/ 1726895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45936 w 10768629"/>
              <a:gd name="connsiteY142" fmla="*/ 1713743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9437 w 10768629"/>
              <a:gd name="connsiteY140" fmla="*/ 1636968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40853 w 10768629"/>
              <a:gd name="connsiteY141" fmla="*/ 1657958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38835 w 10768629"/>
              <a:gd name="connsiteY164" fmla="*/ 1920210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32568 w 10768629"/>
              <a:gd name="connsiteY178" fmla="*/ 1793149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186881 w 10768629"/>
              <a:gd name="connsiteY179" fmla="*/ 1768613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1967996 w 10768629"/>
              <a:gd name="connsiteY173" fmla="*/ 1953187 h 1978172"/>
              <a:gd name="connsiteX174" fmla="*/ 1855805 w 10768629"/>
              <a:gd name="connsiteY174" fmla="*/ 1926082 h 1978172"/>
              <a:gd name="connsiteX175" fmla="*/ 1790957 w 10768629"/>
              <a:gd name="connsiteY175" fmla="*/ 1919460 h 1978172"/>
              <a:gd name="connsiteX176" fmla="*/ 1613978 w 10768629"/>
              <a:gd name="connsiteY176" fmla="*/ 1891581 h 1978172"/>
              <a:gd name="connsiteX177" fmla="*/ 1436831 w 10768629"/>
              <a:gd name="connsiteY177" fmla="*/ 1856201 h 1978172"/>
              <a:gd name="connsiteX178" fmla="*/ 1357365 w 10768629"/>
              <a:gd name="connsiteY178" fmla="*/ 1832140 h 1978172"/>
              <a:gd name="connsiteX179" fmla="*/ 1232341 w 10768629"/>
              <a:gd name="connsiteY179" fmla="*/ 1785942 h 1978172"/>
              <a:gd name="connsiteX180" fmla="*/ 1162595 w 10768629"/>
              <a:gd name="connsiteY180" fmla="*/ 1758337 h 1978172"/>
              <a:gd name="connsiteX181" fmla="*/ 1128523 w 10768629"/>
              <a:gd name="connsiteY181" fmla="*/ 1763621 h 1978172"/>
              <a:gd name="connsiteX182" fmla="*/ 991903 w 10768629"/>
              <a:gd name="connsiteY182" fmla="*/ 1786741 h 1978172"/>
              <a:gd name="connsiteX183" fmla="*/ 883960 w 10768629"/>
              <a:gd name="connsiteY183" fmla="*/ 1822386 h 1978172"/>
              <a:gd name="connsiteX184" fmla="*/ 766531 w 10768629"/>
              <a:gd name="connsiteY184" fmla="*/ 1805053 h 1978172"/>
              <a:gd name="connsiteX185" fmla="*/ 669779 w 10768629"/>
              <a:gd name="connsiteY185" fmla="*/ 1800537 h 1978172"/>
              <a:gd name="connsiteX186" fmla="*/ 523898 w 10768629"/>
              <a:gd name="connsiteY186" fmla="*/ 1811085 h 1978172"/>
              <a:gd name="connsiteX187" fmla="*/ 360251 w 10768629"/>
              <a:gd name="connsiteY187" fmla="*/ 1830735 h 1978172"/>
              <a:gd name="connsiteX188" fmla="*/ 255207 w 10768629"/>
              <a:gd name="connsiteY188" fmla="*/ 1818275 h 1978172"/>
              <a:gd name="connsiteX189" fmla="*/ 101803 w 10768629"/>
              <a:gd name="connsiteY189" fmla="*/ 1870647 h 1978172"/>
              <a:gd name="connsiteX190" fmla="*/ 25397 w 10768629"/>
              <a:gd name="connsiteY190" fmla="*/ 1888443 h 1978172"/>
              <a:gd name="connsiteX191" fmla="*/ 2370 w 10768629"/>
              <a:gd name="connsiteY191" fmla="*/ 1878311 h 1978172"/>
              <a:gd name="connsiteX192" fmla="*/ 0 w 10768629"/>
              <a:gd name="connsiteY192" fmla="*/ 1878785 h 1978172"/>
              <a:gd name="connsiteX193" fmla="*/ 0 w 10768629"/>
              <a:gd name="connsiteY193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115176 w 10768629"/>
              <a:gd name="connsiteY163" fmla="*/ 1943459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57504 w 10768629"/>
              <a:gd name="connsiteY162" fmla="*/ 1957276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90336 w 10768629"/>
              <a:gd name="connsiteY159" fmla="*/ 1925039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76289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407128 w 10768629"/>
              <a:gd name="connsiteY46" fmla="*/ 961344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69725 w 10768629"/>
              <a:gd name="connsiteY49" fmla="*/ 989186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9462 w 10768629"/>
              <a:gd name="connsiteY48" fmla="*/ 987106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79948 w 10768629"/>
              <a:gd name="connsiteY35" fmla="*/ 576062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316893 w 10768629"/>
              <a:gd name="connsiteY28" fmla="*/ 491390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69666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43525 w 10768629"/>
              <a:gd name="connsiteY78" fmla="*/ 1179064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85942 w 10768629"/>
              <a:gd name="connsiteY79" fmla="*/ 1233723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07190 w 10768629"/>
              <a:gd name="connsiteY82" fmla="*/ 1314737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5361 w 10768629"/>
              <a:gd name="connsiteY152" fmla="*/ 1894711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20200 w 10768629"/>
              <a:gd name="connsiteY151" fmla="*/ 1873173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22386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8523 w 10768629"/>
              <a:gd name="connsiteY182" fmla="*/ 1763621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58337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  <a:gd name="connsiteX0" fmla="*/ 0 w 10768629"/>
              <a:gd name="connsiteY0" fmla="*/ 0 h 1978172"/>
              <a:gd name="connsiteX1" fmla="*/ 10768629 w 10768629"/>
              <a:gd name="connsiteY1" fmla="*/ 0 h 1978172"/>
              <a:gd name="connsiteX2" fmla="*/ 10733254 w 10768629"/>
              <a:gd name="connsiteY2" fmla="*/ 31439 h 1978172"/>
              <a:gd name="connsiteX3" fmla="*/ 10727085 w 10768629"/>
              <a:gd name="connsiteY3" fmla="*/ 37910 h 1978172"/>
              <a:gd name="connsiteX4" fmla="*/ 10675953 w 10768629"/>
              <a:gd name="connsiteY4" fmla="*/ 68623 h 1978172"/>
              <a:gd name="connsiteX5" fmla="*/ 10637091 w 10768629"/>
              <a:gd name="connsiteY5" fmla="*/ 90361 h 1978172"/>
              <a:gd name="connsiteX6" fmla="*/ 10610971 w 10768629"/>
              <a:gd name="connsiteY6" fmla="*/ 110764 h 1978172"/>
              <a:gd name="connsiteX7" fmla="*/ 10532872 w 10768629"/>
              <a:gd name="connsiteY7" fmla="*/ 138028 h 1978172"/>
              <a:gd name="connsiteX8" fmla="*/ 10398558 w 10768629"/>
              <a:gd name="connsiteY8" fmla="*/ 172911 h 1978172"/>
              <a:gd name="connsiteX9" fmla="*/ 10371128 w 10768629"/>
              <a:gd name="connsiteY9" fmla="*/ 182609 h 1978172"/>
              <a:gd name="connsiteX10" fmla="*/ 10352178 w 10768629"/>
              <a:gd name="connsiteY10" fmla="*/ 199976 h 1978172"/>
              <a:gd name="connsiteX11" fmla="*/ 10351815 w 10768629"/>
              <a:gd name="connsiteY11" fmla="*/ 211879 h 1978172"/>
              <a:gd name="connsiteX12" fmla="*/ 10337471 w 10768629"/>
              <a:gd name="connsiteY12" fmla="*/ 218661 h 1978172"/>
              <a:gd name="connsiteX13" fmla="*/ 10334625 w 10768629"/>
              <a:gd name="connsiteY13" fmla="*/ 222351 h 1978172"/>
              <a:gd name="connsiteX14" fmla="*/ 10256365 w 10768629"/>
              <a:gd name="connsiteY14" fmla="*/ 235917 h 1978172"/>
              <a:gd name="connsiteX15" fmla="*/ 10201127 w 10768629"/>
              <a:gd name="connsiteY15" fmla="*/ 267448 h 1978172"/>
              <a:gd name="connsiteX16" fmla="*/ 9961218 w 10768629"/>
              <a:gd name="connsiteY16" fmla="*/ 326720 h 1978172"/>
              <a:gd name="connsiteX17" fmla="*/ 9859715 w 10768629"/>
              <a:gd name="connsiteY17" fmla="*/ 355698 h 1978172"/>
              <a:gd name="connsiteX18" fmla="*/ 9679867 w 10768629"/>
              <a:gd name="connsiteY18" fmla="*/ 399081 h 1978172"/>
              <a:gd name="connsiteX19" fmla="*/ 9490654 w 10768629"/>
              <a:gd name="connsiteY19" fmla="*/ 455225 h 1978172"/>
              <a:gd name="connsiteX20" fmla="*/ 9470837 w 10768629"/>
              <a:gd name="connsiteY20" fmla="*/ 452539 h 1978172"/>
              <a:gd name="connsiteX21" fmla="*/ 9469082 w 10768629"/>
              <a:gd name="connsiteY21" fmla="*/ 454891 h 1978172"/>
              <a:gd name="connsiteX22" fmla="*/ 9448038 w 10768629"/>
              <a:gd name="connsiteY22" fmla="*/ 459733 h 1978172"/>
              <a:gd name="connsiteX23" fmla="*/ 9396821 w 10768629"/>
              <a:gd name="connsiteY23" fmla="*/ 455795 h 1978172"/>
              <a:gd name="connsiteX24" fmla="*/ 9392197 w 10768629"/>
              <a:gd name="connsiteY24" fmla="*/ 459796 h 1978172"/>
              <a:gd name="connsiteX25" fmla="*/ 9347994 w 10768629"/>
              <a:gd name="connsiteY25" fmla="*/ 464462 h 1978172"/>
              <a:gd name="connsiteX26" fmla="*/ 9347889 w 10768629"/>
              <a:gd name="connsiteY26" fmla="*/ 466539 h 1978172"/>
              <a:gd name="connsiteX27" fmla="*/ 9337639 w 10768629"/>
              <a:gd name="connsiteY27" fmla="*/ 476654 h 1978172"/>
              <a:gd name="connsiteX28" fmla="*/ 9287964 w 10768629"/>
              <a:gd name="connsiteY28" fmla="*/ 513052 h 1978172"/>
              <a:gd name="connsiteX29" fmla="*/ 9229283 w 10768629"/>
              <a:gd name="connsiteY29" fmla="*/ 555377 h 1978172"/>
              <a:gd name="connsiteX30" fmla="*/ 9220274 w 10768629"/>
              <a:gd name="connsiteY30" fmla="*/ 557502 h 1978172"/>
              <a:gd name="connsiteX31" fmla="*/ 9220202 w 10768629"/>
              <a:gd name="connsiteY31" fmla="*/ 558001 h 1978172"/>
              <a:gd name="connsiteX32" fmla="*/ 9210908 w 10768629"/>
              <a:gd name="connsiteY32" fmla="*/ 561147 h 1978172"/>
              <a:gd name="connsiteX33" fmla="*/ 9186374 w 10768629"/>
              <a:gd name="connsiteY33" fmla="*/ 565502 h 1978172"/>
              <a:gd name="connsiteX34" fmla="*/ 9181058 w 10768629"/>
              <a:gd name="connsiteY34" fmla="*/ 569943 h 1978172"/>
              <a:gd name="connsiteX35" fmla="*/ 9167549 w 10768629"/>
              <a:gd name="connsiteY35" fmla="*/ 584727 h 1978172"/>
              <a:gd name="connsiteX36" fmla="*/ 9149110 w 10768629"/>
              <a:gd name="connsiteY36" fmla="*/ 598906 h 1978172"/>
              <a:gd name="connsiteX37" fmla="*/ 9078556 w 10768629"/>
              <a:gd name="connsiteY37" fmla="*/ 644039 h 1978172"/>
              <a:gd name="connsiteX38" fmla="*/ 8996399 w 10768629"/>
              <a:gd name="connsiteY38" fmla="*/ 690055 h 1978172"/>
              <a:gd name="connsiteX39" fmla="*/ 8803791 w 10768629"/>
              <a:gd name="connsiteY39" fmla="*/ 813860 h 1978172"/>
              <a:gd name="connsiteX40" fmla="*/ 8636202 w 10768629"/>
              <a:gd name="connsiteY40" fmla="*/ 848463 h 1978172"/>
              <a:gd name="connsiteX41" fmla="*/ 8555372 w 10768629"/>
              <a:gd name="connsiteY41" fmla="*/ 883171 h 1978172"/>
              <a:gd name="connsiteX42" fmla="*/ 8507229 w 10768629"/>
              <a:gd name="connsiteY42" fmla="*/ 901665 h 1978172"/>
              <a:gd name="connsiteX43" fmla="*/ 8428473 w 10768629"/>
              <a:gd name="connsiteY43" fmla="*/ 927985 h 1978172"/>
              <a:gd name="connsiteX44" fmla="*/ 8427914 w 10768629"/>
              <a:gd name="connsiteY44" fmla="*/ 933480 h 1978172"/>
              <a:gd name="connsiteX45" fmla="*/ 8420327 w 10768629"/>
              <a:gd name="connsiteY45" fmla="*/ 941984 h 1978172"/>
              <a:gd name="connsiteX46" fmla="*/ 8394729 w 10768629"/>
              <a:gd name="connsiteY46" fmla="*/ 948347 h 1978172"/>
              <a:gd name="connsiteX47" fmla="*/ 8380548 w 10768629"/>
              <a:gd name="connsiteY47" fmla="*/ 987916 h 1978172"/>
              <a:gd name="connsiteX48" fmla="*/ 8375330 w 10768629"/>
              <a:gd name="connsiteY48" fmla="*/ 965444 h 1978172"/>
              <a:gd name="connsiteX49" fmla="*/ 8340796 w 10768629"/>
              <a:gd name="connsiteY49" fmla="*/ 980522 h 1978172"/>
              <a:gd name="connsiteX50" fmla="*/ 8304438 w 10768629"/>
              <a:gd name="connsiteY50" fmla="*/ 996739 h 1978172"/>
              <a:gd name="connsiteX51" fmla="*/ 8280929 w 10768629"/>
              <a:gd name="connsiteY51" fmla="*/ 1023089 h 1978172"/>
              <a:gd name="connsiteX52" fmla="*/ 8275760 w 10768629"/>
              <a:gd name="connsiteY52" fmla="*/ 1027772 h 1978172"/>
              <a:gd name="connsiteX53" fmla="*/ 8275478 w 10768629"/>
              <a:gd name="connsiteY53" fmla="*/ 1027605 h 1978172"/>
              <a:gd name="connsiteX54" fmla="*/ 8249003 w 10768629"/>
              <a:gd name="connsiteY54" fmla="*/ 1032033 h 1978172"/>
              <a:gd name="connsiteX55" fmla="*/ 8203836 w 10768629"/>
              <a:gd name="connsiteY55" fmla="*/ 1037347 h 1978172"/>
              <a:gd name="connsiteX56" fmla="*/ 8122936 w 10768629"/>
              <a:gd name="connsiteY56" fmla="*/ 1063113 h 1978172"/>
              <a:gd name="connsiteX57" fmla="*/ 8043658 w 10768629"/>
              <a:gd name="connsiteY57" fmla="*/ 1092746 h 1978172"/>
              <a:gd name="connsiteX58" fmla="*/ 8015351 w 10768629"/>
              <a:gd name="connsiteY58" fmla="*/ 1105478 h 1978172"/>
              <a:gd name="connsiteX59" fmla="*/ 7963145 w 10768629"/>
              <a:gd name="connsiteY59" fmla="*/ 1119346 h 1978172"/>
              <a:gd name="connsiteX60" fmla="*/ 7938145 w 10768629"/>
              <a:gd name="connsiteY60" fmla="*/ 1120225 h 1978172"/>
              <a:gd name="connsiteX61" fmla="*/ 7937238 w 10768629"/>
              <a:gd name="connsiteY61" fmla="*/ 1121204 h 1978172"/>
              <a:gd name="connsiteX62" fmla="*/ 7934398 w 10768629"/>
              <a:gd name="connsiteY62" fmla="*/ 1118240 h 1978172"/>
              <a:gd name="connsiteX63" fmla="*/ 7918248 w 10768629"/>
              <a:gd name="connsiteY63" fmla="*/ 1124371 h 1978172"/>
              <a:gd name="connsiteX64" fmla="*/ 7914119 w 10768629"/>
              <a:gd name="connsiteY64" fmla="*/ 1127653 h 1978172"/>
              <a:gd name="connsiteX65" fmla="*/ 7907658 w 10768629"/>
              <a:gd name="connsiteY65" fmla="*/ 1130350 h 1978172"/>
              <a:gd name="connsiteX66" fmla="*/ 7907434 w 10768629"/>
              <a:gd name="connsiteY66" fmla="*/ 1130103 h 1978172"/>
              <a:gd name="connsiteX67" fmla="*/ 7901508 w 10768629"/>
              <a:gd name="connsiteY67" fmla="*/ 1133245 h 1978172"/>
              <a:gd name="connsiteX68" fmla="*/ 7873287 w 10768629"/>
              <a:gd name="connsiteY68" fmla="*/ 1152609 h 1978172"/>
              <a:gd name="connsiteX69" fmla="*/ 7834833 w 10768629"/>
              <a:gd name="connsiteY69" fmla="*/ 1153868 h 1978172"/>
              <a:gd name="connsiteX70" fmla="*/ 7828661 w 10768629"/>
              <a:gd name="connsiteY70" fmla="*/ 1139994 h 1978172"/>
              <a:gd name="connsiteX71" fmla="*/ 7823966 w 10768629"/>
              <a:gd name="connsiteY71" fmla="*/ 1143178 h 1978172"/>
              <a:gd name="connsiteX72" fmla="*/ 7815078 w 10768629"/>
              <a:gd name="connsiteY72" fmla="*/ 1151776 h 1978172"/>
              <a:gd name="connsiteX73" fmla="*/ 7812026 w 10768629"/>
              <a:gd name="connsiteY73" fmla="*/ 1151522 h 1978172"/>
              <a:gd name="connsiteX74" fmla="*/ 7782249 w 10768629"/>
              <a:gd name="connsiteY74" fmla="*/ 1160970 h 1978172"/>
              <a:gd name="connsiteX75" fmla="*/ 7773476 w 10768629"/>
              <a:gd name="connsiteY75" fmla="*/ 1157414 h 1978172"/>
              <a:gd name="connsiteX76" fmla="*/ 7769600 w 10768629"/>
              <a:gd name="connsiteY76" fmla="*/ 1157365 h 1978172"/>
              <a:gd name="connsiteX77" fmla="*/ 7752631 w 10768629"/>
              <a:gd name="connsiteY77" fmla="*/ 1172815 h 1978172"/>
              <a:gd name="connsiteX78" fmla="*/ 7739392 w 10768629"/>
              <a:gd name="connsiteY78" fmla="*/ 1192062 h 1978172"/>
              <a:gd name="connsiteX79" fmla="*/ 7677677 w 10768629"/>
              <a:gd name="connsiteY79" fmla="*/ 1216394 h 1978172"/>
              <a:gd name="connsiteX80" fmla="*/ 7586920 w 10768629"/>
              <a:gd name="connsiteY80" fmla="*/ 1261888 h 1978172"/>
              <a:gd name="connsiteX81" fmla="*/ 7486100 w 10768629"/>
              <a:gd name="connsiteY81" fmla="*/ 1292563 h 1978172"/>
              <a:gd name="connsiteX82" fmla="*/ 7411323 w 10768629"/>
              <a:gd name="connsiteY82" fmla="*/ 1340732 h 1978172"/>
              <a:gd name="connsiteX83" fmla="*/ 7240698 w 10768629"/>
              <a:gd name="connsiteY83" fmla="*/ 1438832 h 1978172"/>
              <a:gd name="connsiteX84" fmla="*/ 7197675 w 10768629"/>
              <a:gd name="connsiteY84" fmla="*/ 1447530 h 1978172"/>
              <a:gd name="connsiteX85" fmla="*/ 7164788 w 10768629"/>
              <a:gd name="connsiteY85" fmla="*/ 1480293 h 1978172"/>
              <a:gd name="connsiteX86" fmla="*/ 7147929 w 10768629"/>
              <a:gd name="connsiteY86" fmla="*/ 1477641 h 1978172"/>
              <a:gd name="connsiteX87" fmla="*/ 7144965 w 10768629"/>
              <a:gd name="connsiteY87" fmla="*/ 1476908 h 1978172"/>
              <a:gd name="connsiteX88" fmla="*/ 7134299 w 10768629"/>
              <a:gd name="connsiteY88" fmla="*/ 1479969 h 1978172"/>
              <a:gd name="connsiteX89" fmla="*/ 7129809 w 10768629"/>
              <a:gd name="connsiteY89" fmla="*/ 1473339 h 1978172"/>
              <a:gd name="connsiteX90" fmla="*/ 7112688 w 10768629"/>
              <a:gd name="connsiteY90" fmla="*/ 1472575 h 1978172"/>
              <a:gd name="connsiteX91" fmla="*/ 7093470 w 10768629"/>
              <a:gd name="connsiteY91" fmla="*/ 1480300 h 1978172"/>
              <a:gd name="connsiteX92" fmla="*/ 7025034 w 10768629"/>
              <a:gd name="connsiteY92" fmla="*/ 1506934 h 1978172"/>
              <a:gd name="connsiteX93" fmla="*/ 7014783 w 10768629"/>
              <a:gd name="connsiteY93" fmla="*/ 1515868 h 1978172"/>
              <a:gd name="connsiteX94" fmla="*/ 6979706 w 10768629"/>
              <a:gd name="connsiteY94" fmla="*/ 1523511 h 1978172"/>
              <a:gd name="connsiteX95" fmla="*/ 6977890 w 10768629"/>
              <a:gd name="connsiteY95" fmla="*/ 1525793 h 1978172"/>
              <a:gd name="connsiteX96" fmla="*/ 6944339 w 10768629"/>
              <a:gd name="connsiteY96" fmla="*/ 1536237 h 1978172"/>
              <a:gd name="connsiteX97" fmla="*/ 6886996 w 10768629"/>
              <a:gd name="connsiteY97" fmla="*/ 1563569 h 1978172"/>
              <a:gd name="connsiteX98" fmla="*/ 6874510 w 10768629"/>
              <a:gd name="connsiteY98" fmla="*/ 1558469 h 1978172"/>
              <a:gd name="connsiteX99" fmla="*/ 6871943 w 10768629"/>
              <a:gd name="connsiteY99" fmla="*/ 1554651 h 1978172"/>
              <a:gd name="connsiteX100" fmla="*/ 6856174 w 10768629"/>
              <a:gd name="connsiteY100" fmla="*/ 1562024 h 1978172"/>
              <a:gd name="connsiteX101" fmla="*/ 6842321 w 10768629"/>
              <a:gd name="connsiteY101" fmla="*/ 1560554 h 1978172"/>
              <a:gd name="connsiteX102" fmla="*/ 6832713 w 10768629"/>
              <a:gd name="connsiteY102" fmla="*/ 1569357 h 1978172"/>
              <a:gd name="connsiteX103" fmla="*/ 6816351 w 10768629"/>
              <a:gd name="connsiteY103" fmla="*/ 1571495 h 1978172"/>
              <a:gd name="connsiteX104" fmla="*/ 6795800 w 10768629"/>
              <a:gd name="connsiteY104" fmla="*/ 1572010 h 1978172"/>
              <a:gd name="connsiteX105" fmla="*/ 6777546 w 10768629"/>
              <a:gd name="connsiteY105" fmla="*/ 1568661 h 1978172"/>
              <a:gd name="connsiteX106" fmla="*/ 6751528 w 10768629"/>
              <a:gd name="connsiteY106" fmla="*/ 1574143 h 1978172"/>
              <a:gd name="connsiteX107" fmla="*/ 6691966 w 10768629"/>
              <a:gd name="connsiteY107" fmla="*/ 1582255 h 1978172"/>
              <a:gd name="connsiteX108" fmla="*/ 6646941 w 10768629"/>
              <a:gd name="connsiteY108" fmla="*/ 1588471 h 1978172"/>
              <a:gd name="connsiteX109" fmla="*/ 6568576 w 10768629"/>
              <a:gd name="connsiteY109" fmla="*/ 1606488 h 1978172"/>
              <a:gd name="connsiteX110" fmla="*/ 6554358 w 10768629"/>
              <a:gd name="connsiteY110" fmla="*/ 1621701 h 1978172"/>
              <a:gd name="connsiteX111" fmla="*/ 6516968 w 10768629"/>
              <a:gd name="connsiteY111" fmla="*/ 1617195 h 1978172"/>
              <a:gd name="connsiteX112" fmla="*/ 6506479 w 10768629"/>
              <a:gd name="connsiteY112" fmla="*/ 1602227 h 1978172"/>
              <a:gd name="connsiteX113" fmla="*/ 6458436 w 10768629"/>
              <a:gd name="connsiteY113" fmla="*/ 1607332 h 1978172"/>
              <a:gd name="connsiteX114" fmla="*/ 6414786 w 10768629"/>
              <a:gd name="connsiteY114" fmla="*/ 1628815 h 1978172"/>
              <a:gd name="connsiteX115" fmla="*/ 6357085 w 10768629"/>
              <a:gd name="connsiteY115" fmla="*/ 1640846 h 1978172"/>
              <a:gd name="connsiteX116" fmla="*/ 6322636 w 10768629"/>
              <a:gd name="connsiteY116" fmla="*/ 1648213 h 1978172"/>
              <a:gd name="connsiteX117" fmla="*/ 6226172 w 10768629"/>
              <a:gd name="connsiteY117" fmla="*/ 1654676 h 1978172"/>
              <a:gd name="connsiteX118" fmla="*/ 6221217 w 10768629"/>
              <a:gd name="connsiteY118" fmla="*/ 1654506 h 1978172"/>
              <a:gd name="connsiteX119" fmla="*/ 6204956 w 10768629"/>
              <a:gd name="connsiteY119" fmla="*/ 1664280 h 1978172"/>
              <a:gd name="connsiteX120" fmla="*/ 6204270 w 10768629"/>
              <a:gd name="connsiteY120" fmla="*/ 1666782 h 1978172"/>
              <a:gd name="connsiteX121" fmla="*/ 6143810 w 10768629"/>
              <a:gd name="connsiteY121" fmla="*/ 1661963 h 1978172"/>
              <a:gd name="connsiteX122" fmla="*/ 6136560 w 10768629"/>
              <a:gd name="connsiteY122" fmla="*/ 1665728 h 1978172"/>
              <a:gd name="connsiteX123" fmla="*/ 6096155 w 10768629"/>
              <a:gd name="connsiteY123" fmla="*/ 1656951 h 1978172"/>
              <a:gd name="connsiteX124" fmla="*/ 6075812 w 10768629"/>
              <a:gd name="connsiteY124" fmla="*/ 1655422 h 1978172"/>
              <a:gd name="connsiteX125" fmla="*/ 6039495 w 10768629"/>
              <a:gd name="connsiteY125" fmla="*/ 1649680 h 1978172"/>
              <a:gd name="connsiteX126" fmla="*/ 6036523 w 10768629"/>
              <a:gd name="connsiteY126" fmla="*/ 1652121 h 1978172"/>
              <a:gd name="connsiteX127" fmla="*/ 6029328 w 10768629"/>
              <a:gd name="connsiteY127" fmla="*/ 1649904 h 1978172"/>
              <a:gd name="connsiteX128" fmla="*/ 6024075 w 10768629"/>
              <a:gd name="connsiteY128" fmla="*/ 1652779 h 1978172"/>
              <a:gd name="connsiteX129" fmla="*/ 6018085 w 10768629"/>
              <a:gd name="connsiteY129" fmla="*/ 1652030 h 1978172"/>
              <a:gd name="connsiteX130" fmla="*/ 5955513 w 10768629"/>
              <a:gd name="connsiteY130" fmla="*/ 1663584 h 1978172"/>
              <a:gd name="connsiteX131" fmla="*/ 5941996 w 10768629"/>
              <a:gd name="connsiteY131" fmla="*/ 1661326 h 1978172"/>
              <a:gd name="connsiteX132" fmla="*/ 5931789 w 10768629"/>
              <a:gd name="connsiteY132" fmla="*/ 1669915 h 1978172"/>
              <a:gd name="connsiteX133" fmla="*/ 5888686 w 10768629"/>
              <a:gd name="connsiteY133" fmla="*/ 1672175 h 1978172"/>
              <a:gd name="connsiteX134" fmla="*/ 5873794 w 10768629"/>
              <a:gd name="connsiteY134" fmla="*/ 1665454 h 1978172"/>
              <a:gd name="connsiteX135" fmla="*/ 5860022 w 10768629"/>
              <a:gd name="connsiteY135" fmla="*/ 1660635 h 1978172"/>
              <a:gd name="connsiteX136" fmla="*/ 5858237 w 10768629"/>
              <a:gd name="connsiteY136" fmla="*/ 1660649 h 1978172"/>
              <a:gd name="connsiteX137" fmla="*/ 5840319 w 10768629"/>
              <a:gd name="connsiteY137" fmla="*/ 1660798 h 1978172"/>
              <a:gd name="connsiteX138" fmla="*/ 5806984 w 10768629"/>
              <a:gd name="connsiteY138" fmla="*/ 1661075 h 1978172"/>
              <a:gd name="connsiteX139" fmla="*/ 5742351 w 10768629"/>
              <a:gd name="connsiteY139" fmla="*/ 1667489 h 1978172"/>
              <a:gd name="connsiteX140" fmla="*/ 5521171 w 10768629"/>
              <a:gd name="connsiteY140" fmla="*/ 1671626 h 1978172"/>
              <a:gd name="connsiteX141" fmla="*/ 5457384 w 10768629"/>
              <a:gd name="connsiteY141" fmla="*/ 1683952 h 1978172"/>
              <a:gd name="connsiteX142" fmla="*/ 4950070 w 10768629"/>
              <a:gd name="connsiteY142" fmla="*/ 1748401 h 1978172"/>
              <a:gd name="connsiteX143" fmla="*/ 4872172 w 10768629"/>
              <a:gd name="connsiteY143" fmla="*/ 1757222 h 1978172"/>
              <a:gd name="connsiteX144" fmla="*/ 4809524 w 10768629"/>
              <a:gd name="connsiteY144" fmla="*/ 1761033 h 1978172"/>
              <a:gd name="connsiteX145" fmla="*/ 4759058 w 10768629"/>
              <a:gd name="connsiteY145" fmla="*/ 1766533 h 1978172"/>
              <a:gd name="connsiteX146" fmla="*/ 4719749 w 10768629"/>
              <a:gd name="connsiteY146" fmla="*/ 1771811 h 1978172"/>
              <a:gd name="connsiteX147" fmla="*/ 4568686 w 10768629"/>
              <a:gd name="connsiteY147" fmla="*/ 1786141 h 1978172"/>
              <a:gd name="connsiteX148" fmla="*/ 4418751 w 10768629"/>
              <a:gd name="connsiteY148" fmla="*/ 1796932 h 1978172"/>
              <a:gd name="connsiteX149" fmla="*/ 4378377 w 10768629"/>
              <a:gd name="connsiteY149" fmla="*/ 1815528 h 1978172"/>
              <a:gd name="connsiteX150" fmla="*/ 4320575 w 10768629"/>
              <a:gd name="connsiteY150" fmla="*/ 1832722 h 1978172"/>
              <a:gd name="connsiteX151" fmla="*/ 4211935 w 10768629"/>
              <a:gd name="connsiteY151" fmla="*/ 1860177 h 1978172"/>
              <a:gd name="connsiteX152" fmla="*/ 4101228 w 10768629"/>
              <a:gd name="connsiteY152" fmla="*/ 1868717 h 1978172"/>
              <a:gd name="connsiteX153" fmla="*/ 3973223 w 10768629"/>
              <a:gd name="connsiteY153" fmla="*/ 1881015 h 1978172"/>
              <a:gd name="connsiteX154" fmla="*/ 3900992 w 10768629"/>
              <a:gd name="connsiteY154" fmla="*/ 1880603 h 1978172"/>
              <a:gd name="connsiteX155" fmla="*/ 3662119 w 10768629"/>
              <a:gd name="connsiteY155" fmla="*/ 1889285 h 1978172"/>
              <a:gd name="connsiteX156" fmla="*/ 3496919 w 10768629"/>
              <a:gd name="connsiteY156" fmla="*/ 1873180 h 1978172"/>
              <a:gd name="connsiteX157" fmla="*/ 3449433 w 10768629"/>
              <a:gd name="connsiteY157" fmla="*/ 1889681 h 1978172"/>
              <a:gd name="connsiteX158" fmla="*/ 3369766 w 10768629"/>
              <a:gd name="connsiteY158" fmla="*/ 1916653 h 1978172"/>
              <a:gd name="connsiteX159" fmla="*/ 3269672 w 10768629"/>
              <a:gd name="connsiteY159" fmla="*/ 1938036 h 1978172"/>
              <a:gd name="connsiteX160" fmla="*/ 3224897 w 10768629"/>
              <a:gd name="connsiteY160" fmla="*/ 1943733 h 1978172"/>
              <a:gd name="connsiteX161" fmla="*/ 3161463 w 10768629"/>
              <a:gd name="connsiteY161" fmla="*/ 1946591 h 1978172"/>
              <a:gd name="connsiteX162" fmla="*/ 3112044 w 10768629"/>
              <a:gd name="connsiteY162" fmla="*/ 1935614 h 1978172"/>
              <a:gd name="connsiteX163" fmla="*/ 3069716 w 10768629"/>
              <a:gd name="connsiteY163" fmla="*/ 1930463 h 1978172"/>
              <a:gd name="connsiteX164" fmla="*/ 3005773 w 10768629"/>
              <a:gd name="connsiteY164" fmla="*/ 1915878 h 1978172"/>
              <a:gd name="connsiteX165" fmla="*/ 2897201 w 10768629"/>
              <a:gd name="connsiteY165" fmla="*/ 1926772 h 1978172"/>
              <a:gd name="connsiteX166" fmla="*/ 2783891 w 10768629"/>
              <a:gd name="connsiteY166" fmla="*/ 1931749 h 1978172"/>
              <a:gd name="connsiteX167" fmla="*/ 2712447 w 10768629"/>
              <a:gd name="connsiteY167" fmla="*/ 1933044 h 1978172"/>
              <a:gd name="connsiteX168" fmla="*/ 2560151 w 10768629"/>
              <a:gd name="connsiteY168" fmla="*/ 1963609 h 1978172"/>
              <a:gd name="connsiteX169" fmla="*/ 2367221 w 10768629"/>
              <a:gd name="connsiteY169" fmla="*/ 1971884 h 1978172"/>
              <a:gd name="connsiteX170" fmla="*/ 2272130 w 10768629"/>
              <a:gd name="connsiteY170" fmla="*/ 1961162 h 1978172"/>
              <a:gd name="connsiteX171" fmla="*/ 2189404 w 10768629"/>
              <a:gd name="connsiteY171" fmla="*/ 1978172 h 1978172"/>
              <a:gd name="connsiteX172" fmla="*/ 2077704 w 10768629"/>
              <a:gd name="connsiteY172" fmla="*/ 1965002 h 1978172"/>
              <a:gd name="connsiteX173" fmla="*/ 2033299 w 10768629"/>
              <a:gd name="connsiteY173" fmla="*/ 1969042 h 1978172"/>
              <a:gd name="connsiteX174" fmla="*/ 1967996 w 10768629"/>
              <a:gd name="connsiteY174" fmla="*/ 1953187 h 1978172"/>
              <a:gd name="connsiteX175" fmla="*/ 1855805 w 10768629"/>
              <a:gd name="connsiteY175" fmla="*/ 1926082 h 1978172"/>
              <a:gd name="connsiteX176" fmla="*/ 1790957 w 10768629"/>
              <a:gd name="connsiteY176" fmla="*/ 1919460 h 1978172"/>
              <a:gd name="connsiteX177" fmla="*/ 1613978 w 10768629"/>
              <a:gd name="connsiteY177" fmla="*/ 1891581 h 1978172"/>
              <a:gd name="connsiteX178" fmla="*/ 1436831 w 10768629"/>
              <a:gd name="connsiteY178" fmla="*/ 1856201 h 1978172"/>
              <a:gd name="connsiteX179" fmla="*/ 1357365 w 10768629"/>
              <a:gd name="connsiteY179" fmla="*/ 1832140 h 1978172"/>
              <a:gd name="connsiteX180" fmla="*/ 1232341 w 10768629"/>
              <a:gd name="connsiteY180" fmla="*/ 1785942 h 1978172"/>
              <a:gd name="connsiteX181" fmla="*/ 1162595 w 10768629"/>
              <a:gd name="connsiteY181" fmla="*/ 1784330 h 1978172"/>
              <a:gd name="connsiteX182" fmla="*/ 1120257 w 10768629"/>
              <a:gd name="connsiteY182" fmla="*/ 1789615 h 1978172"/>
              <a:gd name="connsiteX183" fmla="*/ 991903 w 10768629"/>
              <a:gd name="connsiteY183" fmla="*/ 1786741 h 1978172"/>
              <a:gd name="connsiteX184" fmla="*/ 883960 w 10768629"/>
              <a:gd name="connsiteY184" fmla="*/ 1809389 h 1978172"/>
              <a:gd name="connsiteX185" fmla="*/ 766531 w 10768629"/>
              <a:gd name="connsiteY185" fmla="*/ 1805053 h 1978172"/>
              <a:gd name="connsiteX186" fmla="*/ 669779 w 10768629"/>
              <a:gd name="connsiteY186" fmla="*/ 1800537 h 1978172"/>
              <a:gd name="connsiteX187" fmla="*/ 523898 w 10768629"/>
              <a:gd name="connsiteY187" fmla="*/ 1811085 h 1978172"/>
              <a:gd name="connsiteX188" fmla="*/ 360251 w 10768629"/>
              <a:gd name="connsiteY188" fmla="*/ 1830735 h 1978172"/>
              <a:gd name="connsiteX189" fmla="*/ 255207 w 10768629"/>
              <a:gd name="connsiteY189" fmla="*/ 1818275 h 1978172"/>
              <a:gd name="connsiteX190" fmla="*/ 101803 w 10768629"/>
              <a:gd name="connsiteY190" fmla="*/ 1870647 h 1978172"/>
              <a:gd name="connsiteX191" fmla="*/ 25397 w 10768629"/>
              <a:gd name="connsiteY191" fmla="*/ 1888443 h 1978172"/>
              <a:gd name="connsiteX192" fmla="*/ 2370 w 10768629"/>
              <a:gd name="connsiteY192" fmla="*/ 1878311 h 1978172"/>
              <a:gd name="connsiteX193" fmla="*/ 0 w 10768629"/>
              <a:gd name="connsiteY193" fmla="*/ 1878785 h 1978172"/>
              <a:gd name="connsiteX194" fmla="*/ 0 w 10768629"/>
              <a:gd name="connsiteY194" fmla="*/ 0 h 1978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</a:cxnLst>
            <a:rect l="l" t="t" r="r" b="b"/>
            <a:pathLst>
              <a:path w="10768629" h="1978172">
                <a:moveTo>
                  <a:pt x="0" y="0"/>
                </a:moveTo>
                <a:lnTo>
                  <a:pt x="10768629" y="0"/>
                </a:lnTo>
                <a:lnTo>
                  <a:pt x="10733254" y="31439"/>
                </a:lnTo>
                <a:lnTo>
                  <a:pt x="10727085" y="37910"/>
                </a:lnTo>
                <a:cubicBezTo>
                  <a:pt x="10712973" y="56080"/>
                  <a:pt x="10699457" y="78430"/>
                  <a:pt x="10675953" y="68623"/>
                </a:cubicBezTo>
                <a:cubicBezTo>
                  <a:pt x="10685972" y="89202"/>
                  <a:pt x="10641629" y="69781"/>
                  <a:pt x="10637091" y="90361"/>
                </a:cubicBezTo>
                <a:cubicBezTo>
                  <a:pt x="10635214" y="107005"/>
                  <a:pt x="10621323" y="104993"/>
                  <a:pt x="10610971" y="110764"/>
                </a:cubicBezTo>
                <a:cubicBezTo>
                  <a:pt x="10603980" y="127568"/>
                  <a:pt x="10551417" y="141180"/>
                  <a:pt x="10532872" y="138028"/>
                </a:cubicBezTo>
                <a:cubicBezTo>
                  <a:pt x="10480300" y="119072"/>
                  <a:pt x="10440532" y="186296"/>
                  <a:pt x="10398558" y="172911"/>
                </a:cubicBezTo>
                <a:cubicBezTo>
                  <a:pt x="10387708" y="174114"/>
                  <a:pt x="10378792" y="177646"/>
                  <a:pt x="10371128" y="182609"/>
                </a:cubicBezTo>
                <a:lnTo>
                  <a:pt x="10352178" y="199976"/>
                </a:lnTo>
                <a:lnTo>
                  <a:pt x="10351815" y="211879"/>
                </a:lnTo>
                <a:lnTo>
                  <a:pt x="10337471" y="218661"/>
                </a:lnTo>
                <a:lnTo>
                  <a:pt x="10334625" y="222351"/>
                </a:lnTo>
                <a:cubicBezTo>
                  <a:pt x="10321108" y="225227"/>
                  <a:pt x="10278615" y="228401"/>
                  <a:pt x="10256365" y="235917"/>
                </a:cubicBezTo>
                <a:cubicBezTo>
                  <a:pt x="10218136" y="258033"/>
                  <a:pt x="10224552" y="209685"/>
                  <a:pt x="10201127" y="267448"/>
                </a:cubicBezTo>
                <a:cubicBezTo>
                  <a:pt x="10121320" y="273476"/>
                  <a:pt x="10040763" y="345580"/>
                  <a:pt x="9961218" y="326720"/>
                </a:cubicBezTo>
                <a:cubicBezTo>
                  <a:pt x="9980173" y="341621"/>
                  <a:pt x="9883038" y="318484"/>
                  <a:pt x="9859715" y="355698"/>
                </a:cubicBezTo>
                <a:cubicBezTo>
                  <a:pt x="9812822" y="367758"/>
                  <a:pt x="9752089" y="383830"/>
                  <a:pt x="9679867" y="399081"/>
                </a:cubicBezTo>
                <a:cubicBezTo>
                  <a:pt x="9618357" y="415668"/>
                  <a:pt x="9525492" y="446315"/>
                  <a:pt x="9490654" y="455225"/>
                </a:cubicBezTo>
                <a:lnTo>
                  <a:pt x="9470837" y="452539"/>
                </a:lnTo>
                <a:lnTo>
                  <a:pt x="9469082" y="454891"/>
                </a:lnTo>
                <a:cubicBezTo>
                  <a:pt x="9460057" y="461184"/>
                  <a:pt x="9453495" y="461729"/>
                  <a:pt x="9448038" y="459733"/>
                </a:cubicBezTo>
                <a:lnTo>
                  <a:pt x="9396821" y="455795"/>
                </a:lnTo>
                <a:lnTo>
                  <a:pt x="9392197" y="459796"/>
                </a:lnTo>
                <a:lnTo>
                  <a:pt x="9347994" y="464462"/>
                </a:lnTo>
                <a:cubicBezTo>
                  <a:pt x="9347959" y="465155"/>
                  <a:pt x="9347925" y="465846"/>
                  <a:pt x="9347889" y="466539"/>
                </a:cubicBezTo>
                <a:cubicBezTo>
                  <a:pt x="9346648" y="471307"/>
                  <a:pt x="9343831" y="475025"/>
                  <a:pt x="9337639" y="476654"/>
                </a:cubicBezTo>
                <a:cubicBezTo>
                  <a:pt x="9354547" y="503661"/>
                  <a:pt x="9307720" y="510631"/>
                  <a:pt x="9287964" y="513052"/>
                </a:cubicBezTo>
                <a:cubicBezTo>
                  <a:pt x="9269905" y="526173"/>
                  <a:pt x="9245386" y="544358"/>
                  <a:pt x="9229283" y="555377"/>
                </a:cubicBezTo>
                <a:lnTo>
                  <a:pt x="9220274" y="557502"/>
                </a:lnTo>
                <a:cubicBezTo>
                  <a:pt x="9220250" y="557668"/>
                  <a:pt x="9220226" y="557835"/>
                  <a:pt x="9220202" y="558001"/>
                </a:cubicBezTo>
                <a:cubicBezTo>
                  <a:pt x="9218468" y="559434"/>
                  <a:pt x="9215591" y="560497"/>
                  <a:pt x="9210908" y="561147"/>
                </a:cubicBezTo>
                <a:lnTo>
                  <a:pt x="9186374" y="565502"/>
                </a:lnTo>
                <a:lnTo>
                  <a:pt x="9181058" y="569943"/>
                </a:lnTo>
                <a:lnTo>
                  <a:pt x="9167549" y="584727"/>
                </a:lnTo>
                <a:lnTo>
                  <a:pt x="9149110" y="598906"/>
                </a:lnTo>
                <a:cubicBezTo>
                  <a:pt x="9133575" y="594395"/>
                  <a:pt x="9087390" y="636567"/>
                  <a:pt x="9078556" y="644039"/>
                </a:cubicBezTo>
                <a:lnTo>
                  <a:pt x="8996399" y="690055"/>
                </a:lnTo>
                <a:cubicBezTo>
                  <a:pt x="8913147" y="777045"/>
                  <a:pt x="8867993" y="772591"/>
                  <a:pt x="8803791" y="813860"/>
                </a:cubicBezTo>
                <a:cubicBezTo>
                  <a:pt x="8745270" y="819906"/>
                  <a:pt x="8690049" y="823612"/>
                  <a:pt x="8636202" y="848463"/>
                </a:cubicBezTo>
                <a:cubicBezTo>
                  <a:pt x="8594799" y="860014"/>
                  <a:pt x="8568613" y="864779"/>
                  <a:pt x="8555372" y="883171"/>
                </a:cubicBezTo>
                <a:lnTo>
                  <a:pt x="8507229" y="901665"/>
                </a:lnTo>
                <a:lnTo>
                  <a:pt x="8428473" y="927985"/>
                </a:lnTo>
                <a:cubicBezTo>
                  <a:pt x="8428287" y="929817"/>
                  <a:pt x="8428100" y="931648"/>
                  <a:pt x="8427914" y="933480"/>
                </a:cubicBezTo>
                <a:lnTo>
                  <a:pt x="8420327" y="941984"/>
                </a:lnTo>
                <a:lnTo>
                  <a:pt x="8394729" y="948347"/>
                </a:lnTo>
                <a:lnTo>
                  <a:pt x="8380548" y="987916"/>
                </a:lnTo>
                <a:lnTo>
                  <a:pt x="8375330" y="965444"/>
                </a:lnTo>
                <a:cubicBezTo>
                  <a:pt x="8372375" y="964202"/>
                  <a:pt x="8344433" y="977378"/>
                  <a:pt x="8340796" y="980522"/>
                </a:cubicBezTo>
                <a:cubicBezTo>
                  <a:pt x="8328292" y="982128"/>
                  <a:pt x="8319237" y="991089"/>
                  <a:pt x="8304438" y="996739"/>
                </a:cubicBezTo>
                <a:cubicBezTo>
                  <a:pt x="8297193" y="1005683"/>
                  <a:pt x="8289328" y="1014568"/>
                  <a:pt x="8280929" y="1023089"/>
                </a:cubicBezTo>
                <a:lnTo>
                  <a:pt x="8275760" y="1027772"/>
                </a:lnTo>
                <a:lnTo>
                  <a:pt x="8275478" y="1027605"/>
                </a:lnTo>
                <a:cubicBezTo>
                  <a:pt x="8273970" y="1028076"/>
                  <a:pt x="8251461" y="1029408"/>
                  <a:pt x="8249003" y="1032033"/>
                </a:cubicBezTo>
                <a:lnTo>
                  <a:pt x="8203836" y="1037347"/>
                </a:lnTo>
                <a:cubicBezTo>
                  <a:pt x="8172789" y="1049890"/>
                  <a:pt x="8148166" y="1034625"/>
                  <a:pt x="8122936" y="1063113"/>
                </a:cubicBezTo>
                <a:cubicBezTo>
                  <a:pt x="8093850" y="1074757"/>
                  <a:pt x="8066781" y="1075350"/>
                  <a:pt x="8043658" y="1092746"/>
                </a:cubicBezTo>
                <a:cubicBezTo>
                  <a:pt x="8032157" y="1089174"/>
                  <a:pt x="8022145" y="1089998"/>
                  <a:pt x="8015351" y="1105478"/>
                </a:cubicBezTo>
                <a:cubicBezTo>
                  <a:pt x="7987544" y="1113006"/>
                  <a:pt x="7977708" y="1099152"/>
                  <a:pt x="7963145" y="1119346"/>
                </a:cubicBezTo>
                <a:cubicBezTo>
                  <a:pt x="7942622" y="1098880"/>
                  <a:pt x="7943760" y="1109516"/>
                  <a:pt x="7938145" y="1120225"/>
                </a:cubicBezTo>
                <a:lnTo>
                  <a:pt x="7937238" y="1121204"/>
                </a:lnTo>
                <a:lnTo>
                  <a:pt x="7934398" y="1118240"/>
                </a:lnTo>
                <a:lnTo>
                  <a:pt x="7918248" y="1124371"/>
                </a:lnTo>
                <a:lnTo>
                  <a:pt x="7914119" y="1127653"/>
                </a:lnTo>
                <a:cubicBezTo>
                  <a:pt x="7911201" y="1129547"/>
                  <a:pt x="7909169" y="1130331"/>
                  <a:pt x="7907658" y="1130350"/>
                </a:cubicBezTo>
                <a:lnTo>
                  <a:pt x="7907434" y="1130103"/>
                </a:lnTo>
                <a:lnTo>
                  <a:pt x="7901508" y="1133245"/>
                </a:lnTo>
                <a:cubicBezTo>
                  <a:pt x="7891644" y="1139271"/>
                  <a:pt x="7882185" y="1145815"/>
                  <a:pt x="7873287" y="1152609"/>
                </a:cubicBezTo>
                <a:cubicBezTo>
                  <a:pt x="7864672" y="1141906"/>
                  <a:pt x="7845199" y="1159242"/>
                  <a:pt x="7834833" y="1153868"/>
                </a:cubicBezTo>
                <a:lnTo>
                  <a:pt x="7828661" y="1139994"/>
                </a:lnTo>
                <a:lnTo>
                  <a:pt x="7823966" y="1143178"/>
                </a:lnTo>
                <a:lnTo>
                  <a:pt x="7815078" y="1151776"/>
                </a:lnTo>
                <a:cubicBezTo>
                  <a:pt x="7813692" y="1152943"/>
                  <a:pt x="7812687" y="1153116"/>
                  <a:pt x="7812026" y="1151522"/>
                </a:cubicBezTo>
                <a:cubicBezTo>
                  <a:pt x="7806555" y="1153054"/>
                  <a:pt x="7788673" y="1159989"/>
                  <a:pt x="7782249" y="1160970"/>
                </a:cubicBezTo>
                <a:lnTo>
                  <a:pt x="7773476" y="1157414"/>
                </a:lnTo>
                <a:lnTo>
                  <a:pt x="7769600" y="1157365"/>
                </a:lnTo>
                <a:lnTo>
                  <a:pt x="7752631" y="1172815"/>
                </a:lnTo>
                <a:lnTo>
                  <a:pt x="7739392" y="1192062"/>
                </a:lnTo>
                <a:lnTo>
                  <a:pt x="7677677" y="1216394"/>
                </a:lnTo>
                <a:lnTo>
                  <a:pt x="7586920" y="1261888"/>
                </a:lnTo>
                <a:cubicBezTo>
                  <a:pt x="7556723" y="1298911"/>
                  <a:pt x="7489187" y="1284518"/>
                  <a:pt x="7486100" y="1292563"/>
                </a:cubicBezTo>
                <a:cubicBezTo>
                  <a:pt x="7454875" y="1308356"/>
                  <a:pt x="7453335" y="1326361"/>
                  <a:pt x="7411323" y="1340732"/>
                </a:cubicBezTo>
                <a:cubicBezTo>
                  <a:pt x="7372519" y="1390006"/>
                  <a:pt x="7288617" y="1403664"/>
                  <a:pt x="7240698" y="1438832"/>
                </a:cubicBezTo>
                <a:cubicBezTo>
                  <a:pt x="7206467" y="1417136"/>
                  <a:pt x="7227555" y="1441678"/>
                  <a:pt x="7197675" y="1447530"/>
                </a:cubicBezTo>
                <a:cubicBezTo>
                  <a:pt x="7211601" y="1474927"/>
                  <a:pt x="7159483" y="1444981"/>
                  <a:pt x="7164788" y="1480293"/>
                </a:cubicBezTo>
                <a:cubicBezTo>
                  <a:pt x="7159184" y="1480240"/>
                  <a:pt x="7153584" y="1479075"/>
                  <a:pt x="7147929" y="1477641"/>
                </a:cubicBezTo>
                <a:lnTo>
                  <a:pt x="7144965" y="1476908"/>
                </a:lnTo>
                <a:lnTo>
                  <a:pt x="7134299" y="1479969"/>
                </a:lnTo>
                <a:lnTo>
                  <a:pt x="7129809" y="1473339"/>
                </a:lnTo>
                <a:lnTo>
                  <a:pt x="7112688" y="1472575"/>
                </a:lnTo>
                <a:cubicBezTo>
                  <a:pt x="7106506" y="1473449"/>
                  <a:pt x="7100123" y="1475741"/>
                  <a:pt x="7093470" y="1480300"/>
                </a:cubicBezTo>
                <a:cubicBezTo>
                  <a:pt x="7079039" y="1501274"/>
                  <a:pt x="7048991" y="1495718"/>
                  <a:pt x="7025034" y="1506934"/>
                </a:cubicBezTo>
                <a:lnTo>
                  <a:pt x="7014783" y="1515868"/>
                </a:lnTo>
                <a:lnTo>
                  <a:pt x="6979706" y="1523511"/>
                </a:lnTo>
                <a:lnTo>
                  <a:pt x="6977890" y="1525793"/>
                </a:lnTo>
                <a:cubicBezTo>
                  <a:pt x="6971996" y="1527914"/>
                  <a:pt x="6959488" y="1529941"/>
                  <a:pt x="6944339" y="1536237"/>
                </a:cubicBezTo>
                <a:lnTo>
                  <a:pt x="6886996" y="1563569"/>
                </a:lnTo>
                <a:lnTo>
                  <a:pt x="6874510" y="1558469"/>
                </a:lnTo>
                <a:lnTo>
                  <a:pt x="6871943" y="1554651"/>
                </a:lnTo>
                <a:lnTo>
                  <a:pt x="6856174" y="1562024"/>
                </a:lnTo>
                <a:lnTo>
                  <a:pt x="6842321" y="1560554"/>
                </a:lnTo>
                <a:lnTo>
                  <a:pt x="6832713" y="1569357"/>
                </a:lnTo>
                <a:lnTo>
                  <a:pt x="6816351" y="1571495"/>
                </a:lnTo>
                <a:cubicBezTo>
                  <a:pt x="6810216" y="1571510"/>
                  <a:pt x="6803310" y="1571324"/>
                  <a:pt x="6795800" y="1572010"/>
                </a:cubicBezTo>
                <a:lnTo>
                  <a:pt x="6777546" y="1568661"/>
                </a:lnTo>
                <a:lnTo>
                  <a:pt x="6751528" y="1574143"/>
                </a:lnTo>
                <a:cubicBezTo>
                  <a:pt x="6731455" y="1578562"/>
                  <a:pt x="6712054" y="1582098"/>
                  <a:pt x="6691966" y="1582255"/>
                </a:cubicBezTo>
                <a:cubicBezTo>
                  <a:pt x="6677921" y="1590738"/>
                  <a:pt x="6663787" y="1595441"/>
                  <a:pt x="6646941" y="1588471"/>
                </a:cubicBezTo>
                <a:cubicBezTo>
                  <a:pt x="6605135" y="1597971"/>
                  <a:pt x="6598373" y="1612583"/>
                  <a:pt x="6568576" y="1606488"/>
                </a:cubicBezTo>
                <a:cubicBezTo>
                  <a:pt x="6562510" y="1614734"/>
                  <a:pt x="6558067" y="1619360"/>
                  <a:pt x="6554358" y="1621701"/>
                </a:cubicBezTo>
                <a:cubicBezTo>
                  <a:pt x="6543227" y="1628727"/>
                  <a:pt x="6538724" y="1615196"/>
                  <a:pt x="6516968" y="1617195"/>
                </a:cubicBezTo>
                <a:cubicBezTo>
                  <a:pt x="6493173" y="1617368"/>
                  <a:pt x="6528193" y="1598652"/>
                  <a:pt x="6506479" y="1602227"/>
                </a:cubicBezTo>
                <a:cubicBezTo>
                  <a:pt x="6486674" y="1613929"/>
                  <a:pt x="6478484" y="1593997"/>
                  <a:pt x="6458436" y="1607332"/>
                </a:cubicBezTo>
                <a:cubicBezTo>
                  <a:pt x="6471168" y="1620800"/>
                  <a:pt x="6410323" y="1615478"/>
                  <a:pt x="6414786" y="1628815"/>
                </a:cubicBezTo>
                <a:cubicBezTo>
                  <a:pt x="6385942" y="1615041"/>
                  <a:pt x="6386569" y="1640238"/>
                  <a:pt x="6357085" y="1640846"/>
                </a:cubicBezTo>
                <a:cubicBezTo>
                  <a:pt x="6341163" y="1636809"/>
                  <a:pt x="6331497" y="1637754"/>
                  <a:pt x="6322636" y="1648213"/>
                </a:cubicBezTo>
                <a:cubicBezTo>
                  <a:pt x="6248448" y="1627802"/>
                  <a:pt x="6286748" y="1654976"/>
                  <a:pt x="6226172" y="1654676"/>
                </a:cubicBezTo>
                <a:lnTo>
                  <a:pt x="6221217" y="1654506"/>
                </a:lnTo>
                <a:lnTo>
                  <a:pt x="6204956" y="1664280"/>
                </a:lnTo>
                <a:cubicBezTo>
                  <a:pt x="6204728" y="1665114"/>
                  <a:pt x="6204498" y="1665947"/>
                  <a:pt x="6204270" y="1666782"/>
                </a:cubicBezTo>
                <a:lnTo>
                  <a:pt x="6143810" y="1661963"/>
                </a:lnTo>
                <a:lnTo>
                  <a:pt x="6136560" y="1665728"/>
                </a:lnTo>
                <a:lnTo>
                  <a:pt x="6096155" y="1656951"/>
                </a:lnTo>
                <a:lnTo>
                  <a:pt x="6075812" y="1655422"/>
                </a:lnTo>
                <a:lnTo>
                  <a:pt x="6039495" y="1649680"/>
                </a:lnTo>
                <a:lnTo>
                  <a:pt x="6036523" y="1652121"/>
                </a:lnTo>
                <a:lnTo>
                  <a:pt x="6029328" y="1649904"/>
                </a:lnTo>
                <a:lnTo>
                  <a:pt x="6024075" y="1652779"/>
                </a:lnTo>
                <a:lnTo>
                  <a:pt x="6018085" y="1652030"/>
                </a:lnTo>
                <a:cubicBezTo>
                  <a:pt x="6006658" y="1653831"/>
                  <a:pt x="5968194" y="1662035"/>
                  <a:pt x="5955513" y="1663584"/>
                </a:cubicBezTo>
                <a:lnTo>
                  <a:pt x="5941996" y="1661326"/>
                </a:lnTo>
                <a:lnTo>
                  <a:pt x="5931789" y="1669915"/>
                </a:lnTo>
                <a:lnTo>
                  <a:pt x="5888686" y="1672175"/>
                </a:lnTo>
                <a:lnTo>
                  <a:pt x="5873794" y="1665454"/>
                </a:lnTo>
                <a:lnTo>
                  <a:pt x="5860022" y="1660635"/>
                </a:lnTo>
                <a:lnTo>
                  <a:pt x="5858237" y="1660649"/>
                </a:lnTo>
                <a:lnTo>
                  <a:pt x="5840319" y="1660798"/>
                </a:lnTo>
                <a:lnTo>
                  <a:pt x="5806984" y="1661075"/>
                </a:lnTo>
                <a:cubicBezTo>
                  <a:pt x="5785708" y="1661533"/>
                  <a:pt x="5764126" y="1662974"/>
                  <a:pt x="5742351" y="1667489"/>
                </a:cubicBezTo>
                <a:cubicBezTo>
                  <a:pt x="5659069" y="1645168"/>
                  <a:pt x="5615134" y="1706361"/>
                  <a:pt x="5521171" y="1671626"/>
                </a:cubicBezTo>
                <a:cubicBezTo>
                  <a:pt x="5491803" y="1671296"/>
                  <a:pt x="5498089" y="1662666"/>
                  <a:pt x="5457384" y="1683952"/>
                </a:cubicBezTo>
                <a:cubicBezTo>
                  <a:pt x="5356959" y="1699287"/>
                  <a:pt x="5078905" y="1774579"/>
                  <a:pt x="4950070" y="1748401"/>
                </a:cubicBezTo>
                <a:cubicBezTo>
                  <a:pt x="4918276" y="1752255"/>
                  <a:pt x="4891043" y="1756936"/>
                  <a:pt x="4872172" y="1757222"/>
                </a:cubicBezTo>
                <a:lnTo>
                  <a:pt x="4809524" y="1761033"/>
                </a:lnTo>
                <a:cubicBezTo>
                  <a:pt x="4791324" y="1772975"/>
                  <a:pt x="4777258" y="1754591"/>
                  <a:pt x="4759058" y="1766533"/>
                </a:cubicBezTo>
                <a:cubicBezTo>
                  <a:pt x="4747481" y="1770744"/>
                  <a:pt x="4734604" y="1772921"/>
                  <a:pt x="4719749" y="1771811"/>
                </a:cubicBezTo>
                <a:cubicBezTo>
                  <a:pt x="4671168" y="1780243"/>
                  <a:pt x="4634134" y="1775931"/>
                  <a:pt x="4568686" y="1786141"/>
                </a:cubicBezTo>
                <a:cubicBezTo>
                  <a:pt x="4544667" y="1777910"/>
                  <a:pt x="4432547" y="1778168"/>
                  <a:pt x="4418751" y="1796932"/>
                </a:cubicBezTo>
                <a:cubicBezTo>
                  <a:pt x="4403360" y="1801488"/>
                  <a:pt x="4385278" y="1795746"/>
                  <a:pt x="4378377" y="1815528"/>
                </a:cubicBezTo>
                <a:cubicBezTo>
                  <a:pt x="4366870" y="1839461"/>
                  <a:pt x="4337372" y="1814003"/>
                  <a:pt x="4320575" y="1832722"/>
                </a:cubicBezTo>
                <a:cubicBezTo>
                  <a:pt x="4277898" y="1857053"/>
                  <a:pt x="4243945" y="1846759"/>
                  <a:pt x="4211935" y="1860177"/>
                </a:cubicBezTo>
                <a:cubicBezTo>
                  <a:pt x="4181519" y="1859584"/>
                  <a:pt x="4171342" y="1859762"/>
                  <a:pt x="4101228" y="1868717"/>
                </a:cubicBezTo>
                <a:cubicBezTo>
                  <a:pt x="4080159" y="1876188"/>
                  <a:pt x="4039427" y="1877381"/>
                  <a:pt x="3973223" y="1881015"/>
                </a:cubicBezTo>
                <a:cubicBezTo>
                  <a:pt x="3971330" y="1884974"/>
                  <a:pt x="3952843" y="1879225"/>
                  <a:pt x="3900992" y="1880603"/>
                </a:cubicBezTo>
                <a:cubicBezTo>
                  <a:pt x="3849141" y="1881981"/>
                  <a:pt x="3740060" y="1895686"/>
                  <a:pt x="3662119" y="1889285"/>
                </a:cubicBezTo>
                <a:cubicBezTo>
                  <a:pt x="3565155" y="1881322"/>
                  <a:pt x="3613412" y="1915150"/>
                  <a:pt x="3496919" y="1873180"/>
                </a:cubicBezTo>
                <a:cubicBezTo>
                  <a:pt x="3488062" y="1895719"/>
                  <a:pt x="3474293" y="1876288"/>
                  <a:pt x="3449433" y="1889681"/>
                </a:cubicBezTo>
                <a:cubicBezTo>
                  <a:pt x="3406553" y="1891629"/>
                  <a:pt x="3413217" y="1897797"/>
                  <a:pt x="3369766" y="1916653"/>
                </a:cubicBezTo>
                <a:cubicBezTo>
                  <a:pt x="3338805" y="1929531"/>
                  <a:pt x="3289487" y="1928617"/>
                  <a:pt x="3269672" y="1938036"/>
                </a:cubicBezTo>
                <a:lnTo>
                  <a:pt x="3224897" y="1943733"/>
                </a:lnTo>
                <a:cubicBezTo>
                  <a:pt x="3188693" y="1949271"/>
                  <a:pt x="3178540" y="1909145"/>
                  <a:pt x="3161463" y="1946591"/>
                </a:cubicBezTo>
                <a:lnTo>
                  <a:pt x="3112044" y="1935614"/>
                </a:lnTo>
                <a:lnTo>
                  <a:pt x="3069716" y="1930463"/>
                </a:lnTo>
                <a:cubicBezTo>
                  <a:pt x="3049937" y="1924285"/>
                  <a:pt x="3047816" y="1925644"/>
                  <a:pt x="3005773" y="1915878"/>
                </a:cubicBezTo>
                <a:cubicBezTo>
                  <a:pt x="2978838" y="1921092"/>
                  <a:pt x="2967972" y="1927319"/>
                  <a:pt x="2897201" y="1926772"/>
                </a:cubicBezTo>
                <a:lnTo>
                  <a:pt x="2783891" y="1931749"/>
                </a:lnTo>
                <a:cubicBezTo>
                  <a:pt x="2753098" y="1932794"/>
                  <a:pt x="2731621" y="1915151"/>
                  <a:pt x="2712447" y="1933044"/>
                </a:cubicBezTo>
                <a:cubicBezTo>
                  <a:pt x="2621923" y="1990472"/>
                  <a:pt x="2637976" y="1949546"/>
                  <a:pt x="2560151" y="1963609"/>
                </a:cubicBezTo>
                <a:cubicBezTo>
                  <a:pt x="2472084" y="1973456"/>
                  <a:pt x="2423631" y="1962133"/>
                  <a:pt x="2367221" y="1971884"/>
                </a:cubicBezTo>
                <a:cubicBezTo>
                  <a:pt x="2355331" y="1950582"/>
                  <a:pt x="2295649" y="1950006"/>
                  <a:pt x="2272130" y="1961162"/>
                </a:cubicBezTo>
                <a:cubicBezTo>
                  <a:pt x="2229336" y="1964326"/>
                  <a:pt x="2232627" y="1943953"/>
                  <a:pt x="2189404" y="1978172"/>
                </a:cubicBezTo>
                <a:cubicBezTo>
                  <a:pt x="2153824" y="1968017"/>
                  <a:pt x="2114605" y="1969166"/>
                  <a:pt x="2077704" y="1965002"/>
                </a:cubicBezTo>
                <a:cubicBezTo>
                  <a:pt x="2053064" y="1962036"/>
                  <a:pt x="2051584" y="1971011"/>
                  <a:pt x="2033299" y="1969042"/>
                </a:cubicBezTo>
                <a:cubicBezTo>
                  <a:pt x="2015014" y="1967073"/>
                  <a:pt x="1998956" y="1958903"/>
                  <a:pt x="1967996" y="1953187"/>
                </a:cubicBezTo>
                <a:cubicBezTo>
                  <a:pt x="1924117" y="1970917"/>
                  <a:pt x="1915668" y="1940297"/>
                  <a:pt x="1855805" y="1926082"/>
                </a:cubicBezTo>
                <a:cubicBezTo>
                  <a:pt x="1830663" y="1943732"/>
                  <a:pt x="1810564" y="1935694"/>
                  <a:pt x="1790957" y="1919460"/>
                </a:cubicBezTo>
                <a:cubicBezTo>
                  <a:pt x="1732588" y="1924884"/>
                  <a:pt x="1679506" y="1900619"/>
                  <a:pt x="1613978" y="1891581"/>
                </a:cubicBezTo>
                <a:cubicBezTo>
                  <a:pt x="1542961" y="1912227"/>
                  <a:pt x="1506863" y="1865666"/>
                  <a:pt x="1436831" y="1856201"/>
                </a:cubicBezTo>
                <a:cubicBezTo>
                  <a:pt x="1409149" y="1862955"/>
                  <a:pt x="1416370" y="1829853"/>
                  <a:pt x="1357365" y="1832140"/>
                </a:cubicBezTo>
                <a:cubicBezTo>
                  <a:pt x="1285880" y="1811785"/>
                  <a:pt x="1273193" y="1786872"/>
                  <a:pt x="1232341" y="1785942"/>
                </a:cubicBezTo>
                <a:cubicBezTo>
                  <a:pt x="1223903" y="1792798"/>
                  <a:pt x="1160576" y="1793911"/>
                  <a:pt x="1162595" y="1784330"/>
                </a:cubicBezTo>
                <a:cubicBezTo>
                  <a:pt x="1153167" y="1787110"/>
                  <a:pt x="1122206" y="1805077"/>
                  <a:pt x="1120257" y="1789615"/>
                </a:cubicBezTo>
                <a:cubicBezTo>
                  <a:pt x="1073149" y="1786750"/>
                  <a:pt x="1034361" y="1768718"/>
                  <a:pt x="991903" y="1786741"/>
                </a:cubicBezTo>
                <a:cubicBezTo>
                  <a:pt x="966383" y="1781126"/>
                  <a:pt x="949501" y="1800915"/>
                  <a:pt x="883960" y="1809389"/>
                </a:cubicBezTo>
                <a:cubicBezTo>
                  <a:pt x="836064" y="1808194"/>
                  <a:pt x="826980" y="1826610"/>
                  <a:pt x="766531" y="1805053"/>
                </a:cubicBezTo>
                <a:cubicBezTo>
                  <a:pt x="732778" y="1801141"/>
                  <a:pt x="694055" y="1787044"/>
                  <a:pt x="669779" y="1800537"/>
                </a:cubicBezTo>
                <a:cubicBezTo>
                  <a:pt x="645252" y="1794709"/>
                  <a:pt x="563495" y="1813232"/>
                  <a:pt x="523898" y="1811085"/>
                </a:cubicBezTo>
                <a:cubicBezTo>
                  <a:pt x="457555" y="1798530"/>
                  <a:pt x="395227" y="1824052"/>
                  <a:pt x="360251" y="1830735"/>
                </a:cubicBezTo>
                <a:cubicBezTo>
                  <a:pt x="313564" y="1825583"/>
                  <a:pt x="298281" y="1811622"/>
                  <a:pt x="255207" y="1818275"/>
                </a:cubicBezTo>
                <a:cubicBezTo>
                  <a:pt x="206572" y="1839769"/>
                  <a:pt x="160277" y="1836800"/>
                  <a:pt x="101803" y="1870647"/>
                </a:cubicBezTo>
                <a:cubicBezTo>
                  <a:pt x="85849" y="1910002"/>
                  <a:pt x="27997" y="1845258"/>
                  <a:pt x="25397" y="1888443"/>
                </a:cubicBezTo>
                <a:cubicBezTo>
                  <a:pt x="19096" y="1881154"/>
                  <a:pt x="11260" y="1878398"/>
                  <a:pt x="2370" y="1878311"/>
                </a:cubicBezTo>
                <a:lnTo>
                  <a:pt x="0" y="1878785"/>
                </a:lnTo>
                <a:lnTo>
                  <a:pt x="0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0D773F-7A7D-4DBB-9DEA-86BB8B8F4B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5381624" y="6209414"/>
            <a:ext cx="6810375" cy="648586"/>
          </a:xfrm>
          <a:custGeom>
            <a:avLst/>
            <a:gdLst>
              <a:gd name="connsiteX0" fmla="*/ 0 w 10753706"/>
              <a:gd name="connsiteY0" fmla="*/ 0 h 1027260"/>
              <a:gd name="connsiteX1" fmla="*/ 10753706 w 10753706"/>
              <a:gd name="connsiteY1" fmla="*/ 0 h 1027260"/>
              <a:gd name="connsiteX2" fmla="*/ 10748809 w 10753706"/>
              <a:gd name="connsiteY2" fmla="*/ 2522 h 1027260"/>
              <a:gd name="connsiteX3" fmla="*/ 10725330 w 10753706"/>
              <a:gd name="connsiteY3" fmla="*/ 11977 h 1027260"/>
              <a:gd name="connsiteX4" fmla="*/ 10615423 w 10753706"/>
              <a:gd name="connsiteY4" fmla="*/ 52967 h 1027260"/>
              <a:gd name="connsiteX5" fmla="*/ 10533936 w 10753706"/>
              <a:gd name="connsiteY5" fmla="*/ 53095 h 1027260"/>
              <a:gd name="connsiteX6" fmla="*/ 10466876 w 10753706"/>
              <a:gd name="connsiteY6" fmla="*/ 45180 h 1027260"/>
              <a:gd name="connsiteX7" fmla="*/ 10355090 w 10753706"/>
              <a:gd name="connsiteY7" fmla="*/ 89741 h 1027260"/>
              <a:gd name="connsiteX8" fmla="*/ 10087145 w 10753706"/>
              <a:gd name="connsiteY8" fmla="*/ 66115 h 1027260"/>
              <a:gd name="connsiteX9" fmla="*/ 10015902 w 10753706"/>
              <a:gd name="connsiteY9" fmla="*/ 76178 h 1027260"/>
              <a:gd name="connsiteX10" fmla="*/ 9806005 w 10753706"/>
              <a:gd name="connsiteY10" fmla="*/ 102435 h 1027260"/>
              <a:gd name="connsiteX11" fmla="*/ 9602583 w 10753706"/>
              <a:gd name="connsiteY11" fmla="*/ 179170 h 1027260"/>
              <a:gd name="connsiteX12" fmla="*/ 9469719 w 10753706"/>
              <a:gd name="connsiteY12" fmla="*/ 174721 h 1027260"/>
              <a:gd name="connsiteX13" fmla="*/ 9408692 w 10753706"/>
              <a:gd name="connsiteY13" fmla="*/ 189513 h 1027260"/>
              <a:gd name="connsiteX14" fmla="*/ 9364151 w 10753706"/>
              <a:gd name="connsiteY14" fmla="*/ 194072 h 1027260"/>
              <a:gd name="connsiteX15" fmla="*/ 9337751 w 10753706"/>
              <a:gd name="connsiteY15" fmla="*/ 197579 h 1027260"/>
              <a:gd name="connsiteX16" fmla="*/ 9297166 w 10753706"/>
              <a:gd name="connsiteY16" fmla="*/ 216558 h 1027260"/>
              <a:gd name="connsiteX17" fmla="*/ 9123859 w 10753706"/>
              <a:gd name="connsiteY17" fmla="*/ 237356 h 1027260"/>
              <a:gd name="connsiteX18" fmla="*/ 8950741 w 10753706"/>
              <a:gd name="connsiteY18" fmla="*/ 238020 h 1027260"/>
              <a:gd name="connsiteX19" fmla="*/ 8718236 w 10753706"/>
              <a:gd name="connsiteY19" fmla="*/ 303148 h 1027260"/>
              <a:gd name="connsiteX20" fmla="*/ 8694011 w 10753706"/>
              <a:gd name="connsiteY20" fmla="*/ 308812 h 1027260"/>
              <a:gd name="connsiteX21" fmla="*/ 8611976 w 10753706"/>
              <a:gd name="connsiteY21" fmla="*/ 324819 h 1027260"/>
              <a:gd name="connsiteX22" fmla="*/ 8562074 w 10753706"/>
              <a:gd name="connsiteY22" fmla="*/ 337971 h 1027260"/>
              <a:gd name="connsiteX23" fmla="*/ 8501724 w 10753706"/>
              <a:gd name="connsiteY23" fmla="*/ 360865 h 1027260"/>
              <a:gd name="connsiteX24" fmla="*/ 8504489 w 10753706"/>
              <a:gd name="connsiteY24" fmla="*/ 364790 h 1027260"/>
              <a:gd name="connsiteX25" fmla="*/ 8492774 w 10753706"/>
              <a:gd name="connsiteY25" fmla="*/ 366181 h 1027260"/>
              <a:gd name="connsiteX26" fmla="*/ 8466405 w 10753706"/>
              <a:gd name="connsiteY26" fmla="*/ 368724 h 1027260"/>
              <a:gd name="connsiteX27" fmla="*/ 8427069 w 10753706"/>
              <a:gd name="connsiteY27" fmla="*/ 387211 h 1027260"/>
              <a:gd name="connsiteX28" fmla="*/ 8387766 w 10753706"/>
              <a:gd name="connsiteY28" fmla="*/ 377161 h 1027260"/>
              <a:gd name="connsiteX29" fmla="*/ 8315874 w 10753706"/>
              <a:gd name="connsiteY29" fmla="*/ 395527 h 1027260"/>
              <a:gd name="connsiteX30" fmla="*/ 8274474 w 10753706"/>
              <a:gd name="connsiteY30" fmla="*/ 405112 h 1027260"/>
              <a:gd name="connsiteX31" fmla="*/ 8234664 w 10753706"/>
              <a:gd name="connsiteY31" fmla="*/ 410219 h 1027260"/>
              <a:gd name="connsiteX32" fmla="*/ 8211268 w 10753706"/>
              <a:gd name="connsiteY32" fmla="*/ 416791 h 1027260"/>
              <a:gd name="connsiteX33" fmla="*/ 8188615 w 10753706"/>
              <a:gd name="connsiteY33" fmla="*/ 421755 h 1027260"/>
              <a:gd name="connsiteX34" fmla="*/ 8179981 w 10753706"/>
              <a:gd name="connsiteY34" fmla="*/ 420402 h 1027260"/>
              <a:gd name="connsiteX35" fmla="*/ 8179307 w 10753706"/>
              <a:gd name="connsiteY35" fmla="*/ 422516 h 1027260"/>
              <a:gd name="connsiteX36" fmla="*/ 8147929 w 10753706"/>
              <a:gd name="connsiteY36" fmla="*/ 450302 h 1027260"/>
              <a:gd name="connsiteX37" fmla="*/ 8089136 w 10753706"/>
              <a:gd name="connsiteY37" fmla="*/ 465283 h 1027260"/>
              <a:gd name="connsiteX38" fmla="*/ 8049973 w 10753706"/>
              <a:gd name="connsiteY38" fmla="*/ 454121 h 1027260"/>
              <a:gd name="connsiteX39" fmla="*/ 7965913 w 10753706"/>
              <a:gd name="connsiteY39" fmla="*/ 464415 h 1027260"/>
              <a:gd name="connsiteX40" fmla="*/ 7945093 w 10753706"/>
              <a:gd name="connsiteY40" fmla="*/ 464798 h 1027260"/>
              <a:gd name="connsiteX41" fmla="*/ 7935335 w 10753706"/>
              <a:gd name="connsiteY41" fmla="*/ 462442 h 1027260"/>
              <a:gd name="connsiteX42" fmla="*/ 7904779 w 10753706"/>
              <a:gd name="connsiteY42" fmla="*/ 471429 h 1027260"/>
              <a:gd name="connsiteX43" fmla="*/ 7855604 w 10753706"/>
              <a:gd name="connsiteY43" fmla="*/ 480199 h 1027260"/>
              <a:gd name="connsiteX44" fmla="*/ 7832630 w 10753706"/>
              <a:gd name="connsiteY44" fmla="*/ 485371 h 1027260"/>
              <a:gd name="connsiteX45" fmla="*/ 7812438 w 10753706"/>
              <a:gd name="connsiteY45" fmla="*/ 485391 h 1027260"/>
              <a:gd name="connsiteX46" fmla="*/ 7701399 w 10753706"/>
              <a:gd name="connsiteY46" fmla="*/ 495197 h 1027260"/>
              <a:gd name="connsiteX47" fmla="*/ 7674778 w 10753706"/>
              <a:gd name="connsiteY47" fmla="*/ 494723 h 1027260"/>
              <a:gd name="connsiteX48" fmla="*/ 7660445 w 10753706"/>
              <a:gd name="connsiteY48" fmla="*/ 490194 h 1027260"/>
              <a:gd name="connsiteX49" fmla="*/ 7651781 w 10753706"/>
              <a:gd name="connsiteY49" fmla="*/ 493084 h 1027260"/>
              <a:gd name="connsiteX50" fmla="*/ 7584807 w 10753706"/>
              <a:gd name="connsiteY50" fmla="*/ 499490 h 1027260"/>
              <a:gd name="connsiteX51" fmla="*/ 7541324 w 10753706"/>
              <a:gd name="connsiteY51" fmla="*/ 504184 h 1027260"/>
              <a:gd name="connsiteX52" fmla="*/ 7541756 w 10753706"/>
              <a:gd name="connsiteY52" fmla="*/ 512184 h 1027260"/>
              <a:gd name="connsiteX53" fmla="*/ 7503906 w 10753706"/>
              <a:gd name="connsiteY53" fmla="*/ 518551 h 1027260"/>
              <a:gd name="connsiteX54" fmla="*/ 7460411 w 10753706"/>
              <a:gd name="connsiteY54" fmla="*/ 517415 h 1027260"/>
              <a:gd name="connsiteX55" fmla="*/ 7460116 w 10753706"/>
              <a:gd name="connsiteY55" fmla="*/ 517548 h 1027260"/>
              <a:gd name="connsiteX56" fmla="*/ 7297810 w 10753706"/>
              <a:gd name="connsiteY56" fmla="*/ 563947 h 1027260"/>
              <a:gd name="connsiteX57" fmla="*/ 6946388 w 10753706"/>
              <a:gd name="connsiteY57" fmla="*/ 665244 h 1027260"/>
              <a:gd name="connsiteX58" fmla="*/ 6741704 w 10753706"/>
              <a:gd name="connsiteY58" fmla="*/ 679365 h 1027260"/>
              <a:gd name="connsiteX59" fmla="*/ 6624680 w 10753706"/>
              <a:gd name="connsiteY59" fmla="*/ 677674 h 1027260"/>
              <a:gd name="connsiteX60" fmla="*/ 6605700 w 10753706"/>
              <a:gd name="connsiteY60" fmla="*/ 683566 h 1027260"/>
              <a:gd name="connsiteX61" fmla="*/ 6576922 w 10753706"/>
              <a:gd name="connsiteY61" fmla="*/ 683030 h 1027260"/>
              <a:gd name="connsiteX62" fmla="*/ 6405123 w 10753706"/>
              <a:gd name="connsiteY62" fmla="*/ 721946 h 1027260"/>
              <a:gd name="connsiteX63" fmla="*/ 6368938 w 10753706"/>
              <a:gd name="connsiteY63" fmla="*/ 717341 h 1027260"/>
              <a:gd name="connsiteX64" fmla="*/ 6295102 w 10753706"/>
              <a:gd name="connsiteY64" fmla="*/ 729508 h 1027260"/>
              <a:gd name="connsiteX65" fmla="*/ 6202084 w 10753706"/>
              <a:gd name="connsiteY65" fmla="*/ 767091 h 1027260"/>
              <a:gd name="connsiteX66" fmla="*/ 6067157 w 10753706"/>
              <a:gd name="connsiteY66" fmla="*/ 790339 h 1027260"/>
              <a:gd name="connsiteX67" fmla="*/ 6061443 w 10753706"/>
              <a:gd name="connsiteY67" fmla="*/ 796151 h 1027260"/>
              <a:gd name="connsiteX68" fmla="*/ 6051406 w 10753706"/>
              <a:gd name="connsiteY68" fmla="*/ 800684 h 1027260"/>
              <a:gd name="connsiteX69" fmla="*/ 6049097 w 10753706"/>
              <a:gd name="connsiteY69" fmla="*/ 800636 h 1027260"/>
              <a:gd name="connsiteX70" fmla="*/ 6034222 w 10753706"/>
              <a:gd name="connsiteY70" fmla="*/ 804110 h 1027260"/>
              <a:gd name="connsiteX71" fmla="*/ 6033121 w 10753706"/>
              <a:gd name="connsiteY71" fmla="*/ 806078 h 1027260"/>
              <a:gd name="connsiteX72" fmla="*/ 6023593 w 10753706"/>
              <a:gd name="connsiteY72" fmla="*/ 808842 h 1027260"/>
              <a:gd name="connsiteX73" fmla="*/ 6006639 w 10753706"/>
              <a:gd name="connsiteY73" fmla="*/ 815304 h 1027260"/>
              <a:gd name="connsiteX74" fmla="*/ 6001762 w 10753706"/>
              <a:gd name="connsiteY74" fmla="*/ 815557 h 1027260"/>
              <a:gd name="connsiteX75" fmla="*/ 5973534 w 10753706"/>
              <a:gd name="connsiteY75" fmla="*/ 823815 h 1027260"/>
              <a:gd name="connsiteX76" fmla="*/ 5972336 w 10753706"/>
              <a:gd name="connsiteY76" fmla="*/ 823476 h 1027260"/>
              <a:gd name="connsiteX77" fmla="*/ 5960841 w 10753706"/>
              <a:gd name="connsiteY77" fmla="*/ 823819 h 1027260"/>
              <a:gd name="connsiteX78" fmla="*/ 5940719 w 10753706"/>
              <a:gd name="connsiteY78" fmla="*/ 825514 h 1027260"/>
              <a:gd name="connsiteX79" fmla="*/ 5884298 w 10753706"/>
              <a:gd name="connsiteY79" fmla="*/ 823806 h 1027260"/>
              <a:gd name="connsiteX80" fmla="*/ 5854779 w 10753706"/>
              <a:gd name="connsiteY80" fmla="*/ 832365 h 1027260"/>
              <a:gd name="connsiteX81" fmla="*/ 5848382 w 10753706"/>
              <a:gd name="connsiteY81" fmla="*/ 833844 h 1027260"/>
              <a:gd name="connsiteX82" fmla="*/ 5848066 w 10753706"/>
              <a:gd name="connsiteY82" fmla="*/ 833772 h 1027260"/>
              <a:gd name="connsiteX83" fmla="*/ 5840944 w 10753706"/>
              <a:gd name="connsiteY83" fmla="*/ 835132 h 1027260"/>
              <a:gd name="connsiteX84" fmla="*/ 5836719 w 10753706"/>
              <a:gd name="connsiteY84" fmla="*/ 836539 h 1027260"/>
              <a:gd name="connsiteX85" fmla="*/ 5824311 w 10753706"/>
              <a:gd name="connsiteY85" fmla="*/ 839408 h 1027260"/>
              <a:gd name="connsiteX86" fmla="*/ 5818788 w 10753706"/>
              <a:gd name="connsiteY86" fmla="*/ 839727 h 1027260"/>
              <a:gd name="connsiteX87" fmla="*/ 5763953 w 10753706"/>
              <a:gd name="connsiteY87" fmla="*/ 834282 h 1027260"/>
              <a:gd name="connsiteX88" fmla="*/ 5667748 w 10753706"/>
              <a:gd name="connsiteY88" fmla="*/ 840211 h 1027260"/>
              <a:gd name="connsiteX89" fmla="*/ 5573108 w 10753706"/>
              <a:gd name="connsiteY89" fmla="*/ 847611 h 1027260"/>
              <a:gd name="connsiteX90" fmla="*/ 5539137 w 10753706"/>
              <a:gd name="connsiteY90" fmla="*/ 851033 h 1027260"/>
              <a:gd name="connsiteX91" fmla="*/ 5510651 w 10753706"/>
              <a:gd name="connsiteY91" fmla="*/ 844215 h 1027260"/>
              <a:gd name="connsiteX92" fmla="*/ 5457331 w 10753706"/>
              <a:gd name="connsiteY92" fmla="*/ 839159 h 1027260"/>
              <a:gd name="connsiteX93" fmla="*/ 5410613 w 10753706"/>
              <a:gd name="connsiteY93" fmla="*/ 834358 h 1027260"/>
              <a:gd name="connsiteX94" fmla="*/ 5370040 w 10753706"/>
              <a:gd name="connsiteY94" fmla="*/ 862127 h 1027260"/>
              <a:gd name="connsiteX95" fmla="*/ 5318778 w 10753706"/>
              <a:gd name="connsiteY95" fmla="*/ 855310 h 1027260"/>
              <a:gd name="connsiteX96" fmla="*/ 5298645 w 10753706"/>
              <a:gd name="connsiteY96" fmla="*/ 855171 h 1027260"/>
              <a:gd name="connsiteX97" fmla="*/ 5253828 w 10753706"/>
              <a:gd name="connsiteY97" fmla="*/ 859670 h 1027260"/>
              <a:gd name="connsiteX98" fmla="*/ 5216955 w 10753706"/>
              <a:gd name="connsiteY98" fmla="*/ 866245 h 1027260"/>
              <a:gd name="connsiteX99" fmla="*/ 5214344 w 10753706"/>
              <a:gd name="connsiteY99" fmla="*/ 868102 h 1027260"/>
              <a:gd name="connsiteX100" fmla="*/ 5195561 w 10753706"/>
              <a:gd name="connsiteY100" fmla="*/ 869949 h 1027260"/>
              <a:gd name="connsiteX101" fmla="*/ 5182555 w 10753706"/>
              <a:gd name="connsiteY101" fmla="*/ 873542 h 1027260"/>
              <a:gd name="connsiteX102" fmla="*/ 5172552 w 10753706"/>
              <a:gd name="connsiteY102" fmla="*/ 878801 h 1027260"/>
              <a:gd name="connsiteX103" fmla="*/ 5027993 w 10753706"/>
              <a:gd name="connsiteY103" fmla="*/ 889666 h 1027260"/>
              <a:gd name="connsiteX104" fmla="*/ 4939844 w 10753706"/>
              <a:gd name="connsiteY104" fmla="*/ 934802 h 1027260"/>
              <a:gd name="connsiteX105" fmla="*/ 4792576 w 10753706"/>
              <a:gd name="connsiteY105" fmla="*/ 934820 h 1027260"/>
              <a:gd name="connsiteX106" fmla="*/ 4602423 w 10753706"/>
              <a:gd name="connsiteY106" fmla="*/ 958063 h 1027260"/>
              <a:gd name="connsiteX107" fmla="*/ 4290656 w 10753706"/>
              <a:gd name="connsiteY107" fmla="*/ 969152 h 1027260"/>
              <a:gd name="connsiteX108" fmla="*/ 3952334 w 10753706"/>
              <a:gd name="connsiteY108" fmla="*/ 954043 h 1027260"/>
              <a:gd name="connsiteX109" fmla="*/ 3858560 w 10753706"/>
              <a:gd name="connsiteY109" fmla="*/ 948781 h 1027260"/>
              <a:gd name="connsiteX110" fmla="*/ 3846597 w 10753706"/>
              <a:gd name="connsiteY110" fmla="*/ 948382 h 1027260"/>
              <a:gd name="connsiteX111" fmla="*/ 3736044 w 10753706"/>
              <a:gd name="connsiteY111" fmla="*/ 947759 h 1027260"/>
              <a:gd name="connsiteX112" fmla="*/ 3713136 w 10753706"/>
              <a:gd name="connsiteY112" fmla="*/ 946963 h 1027260"/>
              <a:gd name="connsiteX113" fmla="*/ 3695939 w 10753706"/>
              <a:gd name="connsiteY113" fmla="*/ 943639 h 1027260"/>
              <a:gd name="connsiteX114" fmla="*/ 3694125 w 10753706"/>
              <a:gd name="connsiteY114" fmla="*/ 940567 h 1027260"/>
              <a:gd name="connsiteX115" fmla="*/ 3681925 w 10753706"/>
              <a:gd name="connsiteY115" fmla="*/ 939706 h 1027260"/>
              <a:gd name="connsiteX116" fmla="*/ 3679204 w 10753706"/>
              <a:gd name="connsiteY116" fmla="*/ 938926 h 1027260"/>
              <a:gd name="connsiteX117" fmla="*/ 3615656 w 10753706"/>
              <a:gd name="connsiteY117" fmla="*/ 940320 h 1027260"/>
              <a:gd name="connsiteX118" fmla="*/ 3567983 w 10753706"/>
              <a:gd name="connsiteY118" fmla="*/ 935596 h 1027260"/>
              <a:gd name="connsiteX119" fmla="*/ 3422423 w 10753706"/>
              <a:gd name="connsiteY119" fmla="*/ 932129 h 1027260"/>
              <a:gd name="connsiteX120" fmla="*/ 3310925 w 10753706"/>
              <a:gd name="connsiteY120" fmla="*/ 911072 h 1027260"/>
              <a:gd name="connsiteX121" fmla="*/ 3139421 w 10753706"/>
              <a:gd name="connsiteY121" fmla="*/ 934151 h 1027260"/>
              <a:gd name="connsiteX122" fmla="*/ 2996922 w 10753706"/>
              <a:gd name="connsiteY122" fmla="*/ 927537 h 1027260"/>
              <a:gd name="connsiteX123" fmla="*/ 2982785 w 10753706"/>
              <a:gd name="connsiteY123" fmla="*/ 931453 h 1027260"/>
              <a:gd name="connsiteX124" fmla="*/ 2967478 w 10753706"/>
              <a:gd name="connsiteY124" fmla="*/ 933397 h 1027260"/>
              <a:gd name="connsiteX125" fmla="*/ 2948552 w 10753706"/>
              <a:gd name="connsiteY125" fmla="*/ 932961 h 1027260"/>
              <a:gd name="connsiteX126" fmla="*/ 2944404 w 10753706"/>
              <a:gd name="connsiteY126" fmla="*/ 934452 h 1027260"/>
              <a:gd name="connsiteX127" fmla="*/ 2908608 w 10753706"/>
              <a:gd name="connsiteY127" fmla="*/ 937205 h 1027260"/>
              <a:gd name="connsiteX128" fmla="*/ 2904443 w 10753706"/>
              <a:gd name="connsiteY128" fmla="*/ 936455 h 1027260"/>
              <a:gd name="connsiteX129" fmla="*/ 2868935 w 10753706"/>
              <a:gd name="connsiteY129" fmla="*/ 938022 h 1027260"/>
              <a:gd name="connsiteX130" fmla="*/ 2868586 w 10753706"/>
              <a:gd name="connsiteY130" fmla="*/ 937487 h 1027260"/>
              <a:gd name="connsiteX131" fmla="*/ 2859191 w 10753706"/>
              <a:gd name="connsiteY131" fmla="*/ 935503 h 1027260"/>
              <a:gd name="connsiteX132" fmla="*/ 2840915 w 10753706"/>
              <a:gd name="connsiteY132" fmla="*/ 932977 h 1027260"/>
              <a:gd name="connsiteX133" fmla="*/ 2763509 w 10753706"/>
              <a:gd name="connsiteY133" fmla="*/ 921850 h 1027260"/>
              <a:gd name="connsiteX134" fmla="*/ 2756121 w 10753706"/>
              <a:gd name="connsiteY134" fmla="*/ 921864 h 1027260"/>
              <a:gd name="connsiteX135" fmla="*/ 2755998 w 10753706"/>
              <a:gd name="connsiteY135" fmla="*/ 921739 h 1027260"/>
              <a:gd name="connsiteX136" fmla="*/ 2748255 w 10753706"/>
              <a:gd name="connsiteY136" fmla="*/ 921505 h 1027260"/>
              <a:gd name="connsiteX137" fmla="*/ 2694601 w 10753706"/>
              <a:gd name="connsiteY137" fmla="*/ 915575 h 1027260"/>
              <a:gd name="connsiteX138" fmla="*/ 2635357 w 10753706"/>
              <a:gd name="connsiteY138" fmla="*/ 910976 h 1027260"/>
              <a:gd name="connsiteX139" fmla="*/ 2601047 w 10753706"/>
              <a:gd name="connsiteY139" fmla="*/ 910263 h 1027260"/>
              <a:gd name="connsiteX140" fmla="*/ 2507482 w 10753706"/>
              <a:gd name="connsiteY140" fmla="*/ 906211 h 1027260"/>
              <a:gd name="connsiteX141" fmla="*/ 2413884 w 10753706"/>
              <a:gd name="connsiteY141" fmla="*/ 900545 h 1027260"/>
              <a:gd name="connsiteX142" fmla="*/ 2368912 w 10753706"/>
              <a:gd name="connsiteY142" fmla="*/ 888755 h 1027260"/>
              <a:gd name="connsiteX143" fmla="*/ 2349490 w 10753706"/>
              <a:gd name="connsiteY143" fmla="*/ 889719 h 1027260"/>
              <a:gd name="connsiteX144" fmla="*/ 2344290 w 10753706"/>
              <a:gd name="connsiteY144" fmla="*/ 890584 h 1027260"/>
              <a:gd name="connsiteX145" fmla="*/ 2336488 w 10753706"/>
              <a:gd name="connsiteY145" fmla="*/ 891058 h 1027260"/>
              <a:gd name="connsiteX146" fmla="*/ 2329015 w 10753706"/>
              <a:gd name="connsiteY146" fmla="*/ 891627 h 1027260"/>
              <a:gd name="connsiteX147" fmla="*/ 2293898 w 10753706"/>
              <a:gd name="connsiteY147" fmla="*/ 896431 h 1027260"/>
              <a:gd name="connsiteX148" fmla="*/ 2243927 w 10753706"/>
              <a:gd name="connsiteY148" fmla="*/ 888076 h 1027260"/>
              <a:gd name="connsiteX149" fmla="*/ 2223920 w 10753706"/>
              <a:gd name="connsiteY149" fmla="*/ 887331 h 1027260"/>
              <a:gd name="connsiteX150" fmla="*/ 2213081 w 10753706"/>
              <a:gd name="connsiteY150" fmla="*/ 886302 h 1027260"/>
              <a:gd name="connsiteX151" fmla="*/ 2212307 w 10753706"/>
              <a:gd name="connsiteY151" fmla="*/ 885829 h 1027260"/>
              <a:gd name="connsiteX152" fmla="*/ 2152321 w 10753706"/>
              <a:gd name="connsiteY152" fmla="*/ 894418 h 1027260"/>
              <a:gd name="connsiteX153" fmla="*/ 2140985 w 10753706"/>
              <a:gd name="connsiteY153" fmla="*/ 895968 h 1027260"/>
              <a:gd name="connsiteX154" fmla="*/ 2121210 w 10753706"/>
              <a:gd name="connsiteY154" fmla="*/ 899354 h 1027260"/>
              <a:gd name="connsiteX155" fmla="*/ 2119146 w 10753706"/>
              <a:gd name="connsiteY155" fmla="*/ 899033 h 1027260"/>
              <a:gd name="connsiteX156" fmla="*/ 2105666 w 10753706"/>
              <a:gd name="connsiteY156" fmla="*/ 902240 h 1027260"/>
              <a:gd name="connsiteX157" fmla="*/ 2094924 w 10753706"/>
              <a:gd name="connsiteY157" fmla="*/ 907203 h 1027260"/>
              <a:gd name="connsiteX158" fmla="*/ 1949478 w 10753706"/>
              <a:gd name="connsiteY158" fmla="*/ 913748 h 1027260"/>
              <a:gd name="connsiteX159" fmla="*/ 1749684 w 10753706"/>
              <a:gd name="connsiteY159" fmla="*/ 942223 h 1027260"/>
              <a:gd name="connsiteX160" fmla="*/ 1585576 w 10753706"/>
              <a:gd name="connsiteY160" fmla="*/ 954170 h 1027260"/>
              <a:gd name="connsiteX161" fmla="*/ 1476250 w 10753706"/>
              <a:gd name="connsiteY161" fmla="*/ 950653 h 1027260"/>
              <a:gd name="connsiteX162" fmla="*/ 1433927 w 10753706"/>
              <a:gd name="connsiteY162" fmla="*/ 959926 h 1027260"/>
              <a:gd name="connsiteX163" fmla="*/ 1414893 w 10753706"/>
              <a:gd name="connsiteY163" fmla="*/ 957671 h 1027260"/>
              <a:gd name="connsiteX164" fmla="*/ 1411585 w 10753706"/>
              <a:gd name="connsiteY164" fmla="*/ 957179 h 1027260"/>
              <a:gd name="connsiteX165" fmla="*/ 1398896 w 10753706"/>
              <a:gd name="connsiteY165" fmla="*/ 957460 h 1027260"/>
              <a:gd name="connsiteX166" fmla="*/ 1394632 w 10753706"/>
              <a:gd name="connsiteY166" fmla="*/ 954725 h 1027260"/>
              <a:gd name="connsiteX167" fmla="*/ 1375043 w 10753706"/>
              <a:gd name="connsiteY167" fmla="*/ 953132 h 1027260"/>
              <a:gd name="connsiteX168" fmla="*/ 1351876 w 10753706"/>
              <a:gd name="connsiteY168" fmla="*/ 954436 h 1027260"/>
              <a:gd name="connsiteX169" fmla="*/ 1242676 w 10753706"/>
              <a:gd name="connsiteY169" fmla="*/ 963767 h 1027260"/>
              <a:gd name="connsiteX170" fmla="*/ 1205993 w 10753706"/>
              <a:gd name="connsiteY170" fmla="*/ 974080 h 1027260"/>
              <a:gd name="connsiteX171" fmla="*/ 1052221 w 10753706"/>
              <a:gd name="connsiteY171" fmla="*/ 963954 h 1027260"/>
              <a:gd name="connsiteX172" fmla="*/ 968270 w 10753706"/>
              <a:gd name="connsiteY172" fmla="*/ 964761 h 1027260"/>
              <a:gd name="connsiteX173" fmla="*/ 874493 w 10753706"/>
              <a:gd name="connsiteY173" fmla="*/ 998122 h 1027260"/>
              <a:gd name="connsiteX174" fmla="*/ 814411 w 10753706"/>
              <a:gd name="connsiteY174" fmla="*/ 1007391 h 1027260"/>
              <a:gd name="connsiteX175" fmla="*/ 688604 w 10753706"/>
              <a:gd name="connsiteY175" fmla="*/ 1015631 h 1027260"/>
              <a:gd name="connsiteX176" fmla="*/ 618171 w 10753706"/>
              <a:gd name="connsiteY176" fmla="*/ 1027260 h 1027260"/>
              <a:gd name="connsiteX177" fmla="*/ 570379 w 10753706"/>
              <a:gd name="connsiteY177" fmla="*/ 1023487 h 1027260"/>
              <a:gd name="connsiteX178" fmla="*/ 482519 w 10753706"/>
              <a:gd name="connsiteY178" fmla="*/ 1002108 h 1027260"/>
              <a:gd name="connsiteX179" fmla="*/ 475319 w 10753706"/>
              <a:gd name="connsiteY179" fmla="*/ 1009922 h 1027260"/>
              <a:gd name="connsiteX180" fmla="*/ 431104 w 10753706"/>
              <a:gd name="connsiteY180" fmla="*/ 1009317 h 1027260"/>
              <a:gd name="connsiteX181" fmla="*/ 363782 w 10753706"/>
              <a:gd name="connsiteY181" fmla="*/ 1007585 h 1027260"/>
              <a:gd name="connsiteX182" fmla="*/ 325533 w 10753706"/>
              <a:gd name="connsiteY182" fmla="*/ 1008502 h 1027260"/>
              <a:gd name="connsiteX183" fmla="*/ 220429 w 10753706"/>
              <a:gd name="connsiteY183" fmla="*/ 1008927 h 1027260"/>
              <a:gd name="connsiteX184" fmla="*/ 114676 w 10753706"/>
              <a:gd name="connsiteY184" fmla="*/ 1007765 h 1027260"/>
              <a:gd name="connsiteX185" fmla="*/ 13470 w 10753706"/>
              <a:gd name="connsiteY185" fmla="*/ 998544 h 1027260"/>
              <a:gd name="connsiteX186" fmla="*/ 0 w 10753706"/>
              <a:gd name="connsiteY186" fmla="*/ 997355 h 10272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753706" h="1027260">
                <a:moveTo>
                  <a:pt x="0" y="0"/>
                </a:moveTo>
                <a:lnTo>
                  <a:pt x="10753706" y="0"/>
                </a:lnTo>
                <a:lnTo>
                  <a:pt x="10748809" y="2522"/>
                </a:lnTo>
                <a:cubicBezTo>
                  <a:pt x="10744031" y="4644"/>
                  <a:pt x="10737551" y="7204"/>
                  <a:pt x="10725330" y="11977"/>
                </a:cubicBezTo>
                <a:cubicBezTo>
                  <a:pt x="10700888" y="21523"/>
                  <a:pt x="10652058" y="39304"/>
                  <a:pt x="10615423" y="52967"/>
                </a:cubicBezTo>
                <a:cubicBezTo>
                  <a:pt x="10598524" y="49017"/>
                  <a:pt x="10550674" y="61360"/>
                  <a:pt x="10533936" y="53095"/>
                </a:cubicBezTo>
                <a:cubicBezTo>
                  <a:pt x="10519435" y="55674"/>
                  <a:pt x="10480156" y="49393"/>
                  <a:pt x="10466876" y="45180"/>
                </a:cubicBezTo>
                <a:cubicBezTo>
                  <a:pt x="10443145" y="68059"/>
                  <a:pt x="10382269" y="71294"/>
                  <a:pt x="10355090" y="89741"/>
                </a:cubicBezTo>
                <a:cubicBezTo>
                  <a:pt x="10286222" y="95376"/>
                  <a:pt x="10146285" y="63529"/>
                  <a:pt x="10087145" y="66115"/>
                </a:cubicBezTo>
                <a:cubicBezTo>
                  <a:pt x="10067575" y="79584"/>
                  <a:pt x="10043111" y="68921"/>
                  <a:pt x="10015902" y="76178"/>
                </a:cubicBezTo>
                <a:cubicBezTo>
                  <a:pt x="9952302" y="84628"/>
                  <a:pt x="9893286" y="103337"/>
                  <a:pt x="9806005" y="102435"/>
                </a:cubicBezTo>
                <a:cubicBezTo>
                  <a:pt x="9782247" y="141133"/>
                  <a:pt x="9674787" y="151643"/>
                  <a:pt x="9602583" y="179170"/>
                </a:cubicBezTo>
                <a:cubicBezTo>
                  <a:pt x="9557658" y="187584"/>
                  <a:pt x="9478290" y="154235"/>
                  <a:pt x="9469719" y="174721"/>
                </a:cubicBezTo>
                <a:cubicBezTo>
                  <a:pt x="9443779" y="165070"/>
                  <a:pt x="9431317" y="185692"/>
                  <a:pt x="9408692" y="189513"/>
                </a:cubicBezTo>
                <a:cubicBezTo>
                  <a:pt x="9387154" y="183843"/>
                  <a:pt x="9380475" y="191089"/>
                  <a:pt x="9364151" y="194072"/>
                </a:cubicBezTo>
                <a:cubicBezTo>
                  <a:pt x="9354686" y="190222"/>
                  <a:pt x="9340485" y="191782"/>
                  <a:pt x="9337751" y="197579"/>
                </a:cubicBezTo>
                <a:cubicBezTo>
                  <a:pt x="9349566" y="209270"/>
                  <a:pt x="9297468" y="207714"/>
                  <a:pt x="9297166" y="216558"/>
                </a:cubicBezTo>
                <a:cubicBezTo>
                  <a:pt x="9269057" y="220999"/>
                  <a:pt x="9139630" y="221783"/>
                  <a:pt x="9123859" y="237356"/>
                </a:cubicBezTo>
                <a:cubicBezTo>
                  <a:pt x="9068176" y="249209"/>
                  <a:pt x="8975349" y="235349"/>
                  <a:pt x="8950741" y="238020"/>
                </a:cubicBezTo>
                <a:cubicBezTo>
                  <a:pt x="8916265" y="215428"/>
                  <a:pt x="8822808" y="292026"/>
                  <a:pt x="8718236" y="303148"/>
                </a:cubicBezTo>
                <a:cubicBezTo>
                  <a:pt x="8703111" y="302060"/>
                  <a:pt x="8695551" y="302792"/>
                  <a:pt x="8694011" y="308812"/>
                </a:cubicBezTo>
                <a:cubicBezTo>
                  <a:pt x="8661810" y="312764"/>
                  <a:pt x="8637956" y="329628"/>
                  <a:pt x="8611976" y="324819"/>
                </a:cubicBezTo>
                <a:cubicBezTo>
                  <a:pt x="8621849" y="336388"/>
                  <a:pt x="8562809" y="325917"/>
                  <a:pt x="8562074" y="337971"/>
                </a:cubicBezTo>
                <a:cubicBezTo>
                  <a:pt x="8543699" y="343978"/>
                  <a:pt x="8511321" y="356396"/>
                  <a:pt x="8501724" y="360865"/>
                </a:cubicBezTo>
                <a:lnTo>
                  <a:pt x="8504489" y="364790"/>
                </a:lnTo>
                <a:lnTo>
                  <a:pt x="8492774" y="366181"/>
                </a:lnTo>
                <a:lnTo>
                  <a:pt x="8466405" y="368724"/>
                </a:lnTo>
                <a:cubicBezTo>
                  <a:pt x="8455454" y="372229"/>
                  <a:pt x="8440175" y="385805"/>
                  <a:pt x="8427069" y="387211"/>
                </a:cubicBezTo>
                <a:cubicBezTo>
                  <a:pt x="8400442" y="392215"/>
                  <a:pt x="8397079" y="382989"/>
                  <a:pt x="8387766" y="377161"/>
                </a:cubicBezTo>
                <a:cubicBezTo>
                  <a:pt x="8369233" y="378548"/>
                  <a:pt x="8334756" y="390869"/>
                  <a:pt x="8315874" y="395527"/>
                </a:cubicBezTo>
                <a:cubicBezTo>
                  <a:pt x="8306664" y="400500"/>
                  <a:pt x="8272845" y="393679"/>
                  <a:pt x="8274474" y="405112"/>
                </a:cubicBezTo>
                <a:cubicBezTo>
                  <a:pt x="8255483" y="406194"/>
                  <a:pt x="8244963" y="408376"/>
                  <a:pt x="8234664" y="410219"/>
                </a:cubicBezTo>
                <a:lnTo>
                  <a:pt x="8211268" y="416791"/>
                </a:lnTo>
                <a:cubicBezTo>
                  <a:pt x="8204720" y="419941"/>
                  <a:pt x="8197411" y="422004"/>
                  <a:pt x="8188615" y="421755"/>
                </a:cubicBezTo>
                <a:lnTo>
                  <a:pt x="8179981" y="420402"/>
                </a:lnTo>
                <a:lnTo>
                  <a:pt x="8179307" y="422516"/>
                </a:lnTo>
                <a:cubicBezTo>
                  <a:pt x="8179027" y="425797"/>
                  <a:pt x="8175790" y="448341"/>
                  <a:pt x="8147929" y="450302"/>
                </a:cubicBezTo>
                <a:cubicBezTo>
                  <a:pt x="8130300" y="457967"/>
                  <a:pt x="8114933" y="461015"/>
                  <a:pt x="8089136" y="465283"/>
                </a:cubicBezTo>
                <a:cubicBezTo>
                  <a:pt x="8072810" y="465920"/>
                  <a:pt x="8069376" y="451569"/>
                  <a:pt x="8049973" y="454121"/>
                </a:cubicBezTo>
                <a:cubicBezTo>
                  <a:pt x="7974508" y="471465"/>
                  <a:pt x="8006050" y="447139"/>
                  <a:pt x="7965913" y="464415"/>
                </a:cubicBezTo>
                <a:cubicBezTo>
                  <a:pt x="7958234" y="466025"/>
                  <a:pt x="7951405" y="465800"/>
                  <a:pt x="7945093" y="464798"/>
                </a:cubicBezTo>
                <a:lnTo>
                  <a:pt x="7935335" y="462442"/>
                </a:lnTo>
                <a:lnTo>
                  <a:pt x="7904779" y="471429"/>
                </a:lnTo>
                <a:cubicBezTo>
                  <a:pt x="7889387" y="474999"/>
                  <a:pt x="7872867" y="477951"/>
                  <a:pt x="7855604" y="480199"/>
                </a:cubicBezTo>
                <a:cubicBezTo>
                  <a:pt x="7850005" y="476378"/>
                  <a:pt x="7838628" y="483595"/>
                  <a:pt x="7832630" y="485371"/>
                </a:cubicBezTo>
                <a:cubicBezTo>
                  <a:pt x="7831473" y="482645"/>
                  <a:pt x="7816623" y="482661"/>
                  <a:pt x="7812438" y="485391"/>
                </a:cubicBezTo>
                <a:cubicBezTo>
                  <a:pt x="7709470" y="505049"/>
                  <a:pt x="7759426" y="473956"/>
                  <a:pt x="7701399" y="495197"/>
                </a:cubicBezTo>
                <a:cubicBezTo>
                  <a:pt x="7690986" y="496989"/>
                  <a:pt x="7682397" y="496365"/>
                  <a:pt x="7674778" y="494723"/>
                </a:cubicBezTo>
                <a:lnTo>
                  <a:pt x="7660445" y="490194"/>
                </a:lnTo>
                <a:lnTo>
                  <a:pt x="7651781" y="493084"/>
                </a:lnTo>
                <a:cubicBezTo>
                  <a:pt x="7616113" y="496548"/>
                  <a:pt x="7603273" y="491735"/>
                  <a:pt x="7584807" y="499490"/>
                </a:cubicBezTo>
                <a:cubicBezTo>
                  <a:pt x="7549256" y="490212"/>
                  <a:pt x="7563949" y="500167"/>
                  <a:pt x="7541324" y="504184"/>
                </a:cubicBezTo>
                <a:cubicBezTo>
                  <a:pt x="7523851" y="508307"/>
                  <a:pt x="7559546" y="509825"/>
                  <a:pt x="7541756" y="512184"/>
                </a:cubicBezTo>
                <a:cubicBezTo>
                  <a:pt x="7520963" y="510864"/>
                  <a:pt x="7525755" y="520497"/>
                  <a:pt x="7503906" y="518551"/>
                </a:cubicBezTo>
                <a:cubicBezTo>
                  <a:pt x="7505924" y="510774"/>
                  <a:pt x="7464361" y="523683"/>
                  <a:pt x="7460411" y="517415"/>
                </a:cubicBezTo>
                <a:lnTo>
                  <a:pt x="7460116" y="517548"/>
                </a:lnTo>
                <a:cubicBezTo>
                  <a:pt x="7447785" y="530928"/>
                  <a:pt x="7310141" y="550568"/>
                  <a:pt x="7297810" y="563947"/>
                </a:cubicBezTo>
                <a:cubicBezTo>
                  <a:pt x="7221791" y="605698"/>
                  <a:pt x="7039072" y="646008"/>
                  <a:pt x="6946388" y="665244"/>
                </a:cubicBezTo>
                <a:cubicBezTo>
                  <a:pt x="6853704" y="684480"/>
                  <a:pt x="6804875" y="677485"/>
                  <a:pt x="6741704" y="679365"/>
                </a:cubicBezTo>
                <a:lnTo>
                  <a:pt x="6624680" y="677674"/>
                </a:lnTo>
                <a:lnTo>
                  <a:pt x="6605700" y="683566"/>
                </a:lnTo>
                <a:cubicBezTo>
                  <a:pt x="6603309" y="685184"/>
                  <a:pt x="6599550" y="685647"/>
                  <a:pt x="6576922" y="683030"/>
                </a:cubicBezTo>
                <a:cubicBezTo>
                  <a:pt x="6527275" y="698355"/>
                  <a:pt x="6440981" y="702347"/>
                  <a:pt x="6405123" y="721946"/>
                </a:cubicBezTo>
                <a:cubicBezTo>
                  <a:pt x="6407963" y="715467"/>
                  <a:pt x="6383450" y="712913"/>
                  <a:pt x="6368938" y="717341"/>
                </a:cubicBezTo>
                <a:cubicBezTo>
                  <a:pt x="6377914" y="692119"/>
                  <a:pt x="6315316" y="744281"/>
                  <a:pt x="6295102" y="729508"/>
                </a:cubicBezTo>
                <a:cubicBezTo>
                  <a:pt x="6300358" y="744473"/>
                  <a:pt x="6240070" y="776254"/>
                  <a:pt x="6202084" y="767091"/>
                </a:cubicBezTo>
                <a:cubicBezTo>
                  <a:pt x="6152826" y="774744"/>
                  <a:pt x="6122010" y="790367"/>
                  <a:pt x="6067157" y="790339"/>
                </a:cubicBezTo>
                <a:cubicBezTo>
                  <a:pt x="6066310" y="792484"/>
                  <a:pt x="6064283" y="794403"/>
                  <a:pt x="6061443" y="796151"/>
                </a:cubicBezTo>
                <a:lnTo>
                  <a:pt x="6051406" y="800684"/>
                </a:lnTo>
                <a:lnTo>
                  <a:pt x="6049097" y="800636"/>
                </a:lnTo>
                <a:cubicBezTo>
                  <a:pt x="6040408" y="801393"/>
                  <a:pt x="6036299" y="802645"/>
                  <a:pt x="6034222" y="804110"/>
                </a:cubicBezTo>
                <a:lnTo>
                  <a:pt x="6033121" y="806078"/>
                </a:lnTo>
                <a:lnTo>
                  <a:pt x="6023593" y="808842"/>
                </a:lnTo>
                <a:lnTo>
                  <a:pt x="6006639" y="815304"/>
                </a:lnTo>
                <a:lnTo>
                  <a:pt x="6001762" y="815557"/>
                </a:lnTo>
                <a:lnTo>
                  <a:pt x="5973534" y="823815"/>
                </a:lnTo>
                <a:lnTo>
                  <a:pt x="5972336" y="823476"/>
                </a:lnTo>
                <a:cubicBezTo>
                  <a:pt x="5969004" y="822901"/>
                  <a:pt x="5965329" y="822833"/>
                  <a:pt x="5960841" y="823819"/>
                </a:cubicBezTo>
                <a:cubicBezTo>
                  <a:pt x="5955860" y="815655"/>
                  <a:pt x="5953515" y="821882"/>
                  <a:pt x="5940719" y="825514"/>
                </a:cubicBezTo>
                <a:cubicBezTo>
                  <a:pt x="5930130" y="813644"/>
                  <a:pt x="5900943" y="827979"/>
                  <a:pt x="5884298" y="823806"/>
                </a:cubicBezTo>
                <a:cubicBezTo>
                  <a:pt x="5875133" y="826741"/>
                  <a:pt x="5865250" y="829630"/>
                  <a:pt x="5854779" y="832365"/>
                </a:cubicBezTo>
                <a:lnTo>
                  <a:pt x="5848382" y="833844"/>
                </a:lnTo>
                <a:lnTo>
                  <a:pt x="5848066" y="833772"/>
                </a:lnTo>
                <a:cubicBezTo>
                  <a:pt x="5846273" y="833879"/>
                  <a:pt x="5844018" y="834284"/>
                  <a:pt x="5840944" y="835132"/>
                </a:cubicBezTo>
                <a:lnTo>
                  <a:pt x="5836719" y="836539"/>
                </a:lnTo>
                <a:lnTo>
                  <a:pt x="5824311" y="839408"/>
                </a:lnTo>
                <a:lnTo>
                  <a:pt x="5818788" y="839727"/>
                </a:lnTo>
                <a:cubicBezTo>
                  <a:pt x="5797008" y="838594"/>
                  <a:pt x="5786883" y="822081"/>
                  <a:pt x="5763953" y="834282"/>
                </a:cubicBezTo>
                <a:cubicBezTo>
                  <a:pt x="5726813" y="837521"/>
                  <a:pt x="5699446" y="830949"/>
                  <a:pt x="5667748" y="840211"/>
                </a:cubicBezTo>
                <a:cubicBezTo>
                  <a:pt x="5632959" y="843205"/>
                  <a:pt x="5601436" y="842280"/>
                  <a:pt x="5573108" y="847611"/>
                </a:cubicBezTo>
                <a:cubicBezTo>
                  <a:pt x="5560030" y="845832"/>
                  <a:pt x="5549547" y="851598"/>
                  <a:pt x="5539137" y="851033"/>
                </a:cubicBezTo>
                <a:cubicBezTo>
                  <a:pt x="5528728" y="850467"/>
                  <a:pt x="5529256" y="837509"/>
                  <a:pt x="5510651" y="844215"/>
                </a:cubicBezTo>
                <a:cubicBezTo>
                  <a:pt x="5494241" y="833607"/>
                  <a:pt x="5466101" y="839171"/>
                  <a:pt x="5457331" y="839159"/>
                </a:cubicBezTo>
                <a:lnTo>
                  <a:pt x="5410613" y="834358"/>
                </a:lnTo>
                <a:lnTo>
                  <a:pt x="5370040" y="862127"/>
                </a:lnTo>
                <a:cubicBezTo>
                  <a:pt x="5357863" y="856469"/>
                  <a:pt x="5319115" y="868069"/>
                  <a:pt x="5318778" y="855310"/>
                </a:cubicBezTo>
                <a:cubicBezTo>
                  <a:pt x="5303920" y="857760"/>
                  <a:pt x="5296727" y="863736"/>
                  <a:pt x="5298645" y="855171"/>
                </a:cubicBezTo>
                <a:cubicBezTo>
                  <a:pt x="5287819" y="855897"/>
                  <a:pt x="5267444" y="857825"/>
                  <a:pt x="5253828" y="859670"/>
                </a:cubicBezTo>
                <a:lnTo>
                  <a:pt x="5216955" y="866245"/>
                </a:lnTo>
                <a:lnTo>
                  <a:pt x="5214344" y="868102"/>
                </a:lnTo>
                <a:cubicBezTo>
                  <a:pt x="5210778" y="868719"/>
                  <a:pt x="5200859" y="869042"/>
                  <a:pt x="5195561" y="869949"/>
                </a:cubicBezTo>
                <a:lnTo>
                  <a:pt x="5182555" y="873542"/>
                </a:lnTo>
                <a:cubicBezTo>
                  <a:pt x="5178496" y="875023"/>
                  <a:pt x="5175066" y="876746"/>
                  <a:pt x="5172552" y="878801"/>
                </a:cubicBezTo>
                <a:cubicBezTo>
                  <a:pt x="5121406" y="873797"/>
                  <a:pt x="5080096" y="886529"/>
                  <a:pt x="5027993" y="889666"/>
                </a:cubicBezTo>
                <a:cubicBezTo>
                  <a:pt x="4999924" y="877115"/>
                  <a:pt x="4946973" y="919452"/>
                  <a:pt x="4939844" y="934802"/>
                </a:cubicBezTo>
                <a:cubicBezTo>
                  <a:pt x="4895154" y="940701"/>
                  <a:pt x="4844006" y="928240"/>
                  <a:pt x="4792576" y="934820"/>
                </a:cubicBezTo>
                <a:lnTo>
                  <a:pt x="4602423" y="958063"/>
                </a:lnTo>
                <a:cubicBezTo>
                  <a:pt x="4488530" y="967131"/>
                  <a:pt x="4399004" y="969822"/>
                  <a:pt x="4290656" y="969152"/>
                </a:cubicBezTo>
                <a:cubicBezTo>
                  <a:pt x="4182308" y="968482"/>
                  <a:pt x="4046938" y="971167"/>
                  <a:pt x="3952334" y="954043"/>
                </a:cubicBezTo>
                <a:lnTo>
                  <a:pt x="3858560" y="948781"/>
                </a:lnTo>
                <a:lnTo>
                  <a:pt x="3846597" y="948382"/>
                </a:lnTo>
                <a:cubicBezTo>
                  <a:pt x="3807516" y="956616"/>
                  <a:pt x="3767475" y="941640"/>
                  <a:pt x="3736044" y="947759"/>
                </a:cubicBezTo>
                <a:cubicBezTo>
                  <a:pt x="3727323" y="948128"/>
                  <a:pt x="3719828" y="947771"/>
                  <a:pt x="3713136" y="946963"/>
                </a:cubicBezTo>
                <a:lnTo>
                  <a:pt x="3695939" y="943639"/>
                </a:lnTo>
                <a:lnTo>
                  <a:pt x="3694125" y="940567"/>
                </a:lnTo>
                <a:lnTo>
                  <a:pt x="3681925" y="939706"/>
                </a:lnTo>
                <a:lnTo>
                  <a:pt x="3679204" y="938926"/>
                </a:lnTo>
                <a:cubicBezTo>
                  <a:pt x="3668160" y="939028"/>
                  <a:pt x="3634193" y="940875"/>
                  <a:pt x="3615656" y="940320"/>
                </a:cubicBezTo>
                <a:cubicBezTo>
                  <a:pt x="3582626" y="936974"/>
                  <a:pt x="3593904" y="949140"/>
                  <a:pt x="3567983" y="935596"/>
                </a:cubicBezTo>
                <a:cubicBezTo>
                  <a:pt x="3504185" y="939048"/>
                  <a:pt x="3482818" y="922224"/>
                  <a:pt x="3422423" y="932129"/>
                </a:cubicBezTo>
                <a:cubicBezTo>
                  <a:pt x="3369166" y="933413"/>
                  <a:pt x="3329486" y="910108"/>
                  <a:pt x="3310925" y="911072"/>
                </a:cubicBezTo>
                <a:cubicBezTo>
                  <a:pt x="3261363" y="909787"/>
                  <a:pt x="3198415" y="933574"/>
                  <a:pt x="3139421" y="934151"/>
                </a:cubicBezTo>
                <a:cubicBezTo>
                  <a:pt x="3088799" y="931012"/>
                  <a:pt x="3038941" y="938464"/>
                  <a:pt x="2996922" y="927537"/>
                </a:cubicBezTo>
                <a:cubicBezTo>
                  <a:pt x="2992673" y="929234"/>
                  <a:pt x="2987900" y="930498"/>
                  <a:pt x="2982785" y="931453"/>
                </a:cubicBezTo>
                <a:lnTo>
                  <a:pt x="2967478" y="933397"/>
                </a:lnTo>
                <a:lnTo>
                  <a:pt x="2948552" y="932961"/>
                </a:lnTo>
                <a:lnTo>
                  <a:pt x="2944404" y="934452"/>
                </a:lnTo>
                <a:lnTo>
                  <a:pt x="2908608" y="937205"/>
                </a:lnTo>
                <a:lnTo>
                  <a:pt x="2904443" y="936455"/>
                </a:lnTo>
                <a:lnTo>
                  <a:pt x="2868935" y="938022"/>
                </a:lnTo>
                <a:lnTo>
                  <a:pt x="2868586" y="937487"/>
                </a:lnTo>
                <a:cubicBezTo>
                  <a:pt x="2866994" y="936327"/>
                  <a:pt x="2864292" y="935538"/>
                  <a:pt x="2859191" y="935503"/>
                </a:cubicBezTo>
                <a:cubicBezTo>
                  <a:pt x="2869075" y="927418"/>
                  <a:pt x="2856828" y="932364"/>
                  <a:pt x="2840915" y="932977"/>
                </a:cubicBezTo>
                <a:lnTo>
                  <a:pt x="2763509" y="921850"/>
                </a:lnTo>
                <a:lnTo>
                  <a:pt x="2756121" y="921864"/>
                </a:lnTo>
                <a:cubicBezTo>
                  <a:pt x="2756081" y="921822"/>
                  <a:pt x="2756039" y="921781"/>
                  <a:pt x="2755998" y="921739"/>
                </a:cubicBezTo>
                <a:cubicBezTo>
                  <a:pt x="2754445" y="921476"/>
                  <a:pt x="2752036" y="921380"/>
                  <a:pt x="2748255" y="921505"/>
                </a:cubicBezTo>
                <a:lnTo>
                  <a:pt x="2694601" y="915575"/>
                </a:lnTo>
                <a:cubicBezTo>
                  <a:pt x="2671223" y="919874"/>
                  <a:pt x="2666972" y="913376"/>
                  <a:pt x="2635357" y="910976"/>
                </a:cubicBezTo>
                <a:cubicBezTo>
                  <a:pt x="2621906" y="915051"/>
                  <a:pt x="2611315" y="913542"/>
                  <a:pt x="2601047" y="910263"/>
                </a:cubicBezTo>
                <a:cubicBezTo>
                  <a:pt x="2570084" y="912074"/>
                  <a:pt x="2542135" y="907435"/>
                  <a:pt x="2507482" y="906211"/>
                </a:cubicBezTo>
                <a:cubicBezTo>
                  <a:pt x="2469706" y="911437"/>
                  <a:pt x="2450920" y="901812"/>
                  <a:pt x="2413884" y="900545"/>
                </a:cubicBezTo>
                <a:cubicBezTo>
                  <a:pt x="2381338" y="909664"/>
                  <a:pt x="2387753" y="892438"/>
                  <a:pt x="2368912" y="888755"/>
                </a:cubicBezTo>
                <a:lnTo>
                  <a:pt x="2349490" y="889719"/>
                </a:lnTo>
                <a:lnTo>
                  <a:pt x="2344290" y="890584"/>
                </a:lnTo>
                <a:cubicBezTo>
                  <a:pt x="2340673" y="891041"/>
                  <a:pt x="2338228" y="891167"/>
                  <a:pt x="2336488" y="891058"/>
                </a:cubicBezTo>
                <a:lnTo>
                  <a:pt x="2329015" y="891627"/>
                </a:lnTo>
                <a:cubicBezTo>
                  <a:pt x="2316843" y="893039"/>
                  <a:pt x="2305064" y="894669"/>
                  <a:pt x="2293898" y="896431"/>
                </a:cubicBezTo>
                <a:cubicBezTo>
                  <a:pt x="2282637" y="890404"/>
                  <a:pt x="2242346" y="900851"/>
                  <a:pt x="2243927" y="888076"/>
                </a:cubicBezTo>
                <a:cubicBezTo>
                  <a:pt x="2228778" y="890081"/>
                  <a:pt x="2220725" y="895845"/>
                  <a:pt x="2223920" y="887331"/>
                </a:cubicBezTo>
                <a:cubicBezTo>
                  <a:pt x="2218877" y="887756"/>
                  <a:pt x="2215583" y="887254"/>
                  <a:pt x="2213081" y="886302"/>
                </a:cubicBezTo>
                <a:lnTo>
                  <a:pt x="2212307" y="885829"/>
                </a:lnTo>
                <a:lnTo>
                  <a:pt x="2152321" y="894418"/>
                </a:lnTo>
                <a:lnTo>
                  <a:pt x="2140985" y="895968"/>
                </a:lnTo>
                <a:lnTo>
                  <a:pt x="2121210" y="899354"/>
                </a:lnTo>
                <a:lnTo>
                  <a:pt x="2119146" y="899033"/>
                </a:lnTo>
                <a:lnTo>
                  <a:pt x="2105666" y="902240"/>
                </a:lnTo>
                <a:cubicBezTo>
                  <a:pt x="2101407" y="903601"/>
                  <a:pt x="2097735" y="905221"/>
                  <a:pt x="2094924" y="907203"/>
                </a:cubicBezTo>
                <a:cubicBezTo>
                  <a:pt x="2044793" y="900664"/>
                  <a:pt x="2001785" y="912168"/>
                  <a:pt x="1949478" y="913748"/>
                </a:cubicBezTo>
                <a:cubicBezTo>
                  <a:pt x="1891937" y="919585"/>
                  <a:pt x="1810334" y="935486"/>
                  <a:pt x="1749684" y="942223"/>
                </a:cubicBezTo>
                <a:lnTo>
                  <a:pt x="1585576" y="954170"/>
                </a:lnTo>
                <a:cubicBezTo>
                  <a:pt x="1549165" y="943719"/>
                  <a:pt x="1511425" y="950847"/>
                  <a:pt x="1476250" y="950653"/>
                </a:cubicBezTo>
                <a:cubicBezTo>
                  <a:pt x="1488515" y="961596"/>
                  <a:pt x="1432660" y="946795"/>
                  <a:pt x="1433927" y="959926"/>
                </a:cubicBezTo>
                <a:cubicBezTo>
                  <a:pt x="1427485" y="959475"/>
                  <a:pt x="1421205" y="958623"/>
                  <a:pt x="1414893" y="957671"/>
                </a:cubicBezTo>
                <a:lnTo>
                  <a:pt x="1411585" y="957179"/>
                </a:lnTo>
                <a:lnTo>
                  <a:pt x="1398896" y="957460"/>
                </a:lnTo>
                <a:lnTo>
                  <a:pt x="1394632" y="954725"/>
                </a:lnTo>
                <a:lnTo>
                  <a:pt x="1375043" y="953132"/>
                </a:lnTo>
                <a:cubicBezTo>
                  <a:pt x="1367813" y="952970"/>
                  <a:pt x="1360155" y="953305"/>
                  <a:pt x="1351876" y="954436"/>
                </a:cubicBezTo>
                <a:cubicBezTo>
                  <a:pt x="1325912" y="963028"/>
                  <a:pt x="1274459" y="952492"/>
                  <a:pt x="1242676" y="963767"/>
                </a:cubicBezTo>
                <a:cubicBezTo>
                  <a:pt x="1230276" y="966918"/>
                  <a:pt x="1216715" y="977098"/>
                  <a:pt x="1205993" y="974080"/>
                </a:cubicBezTo>
                <a:cubicBezTo>
                  <a:pt x="1174251" y="974112"/>
                  <a:pt x="1086982" y="964420"/>
                  <a:pt x="1052221" y="963954"/>
                </a:cubicBezTo>
                <a:cubicBezTo>
                  <a:pt x="1038515" y="970622"/>
                  <a:pt x="1009522" y="962342"/>
                  <a:pt x="968270" y="964761"/>
                </a:cubicBezTo>
                <a:cubicBezTo>
                  <a:pt x="943437" y="973698"/>
                  <a:pt x="900136" y="991017"/>
                  <a:pt x="874493" y="998122"/>
                </a:cubicBezTo>
                <a:cubicBezTo>
                  <a:pt x="848849" y="1005226"/>
                  <a:pt x="853424" y="1009427"/>
                  <a:pt x="814411" y="1007391"/>
                </a:cubicBezTo>
                <a:cubicBezTo>
                  <a:pt x="765926" y="1022821"/>
                  <a:pt x="732885" y="1009859"/>
                  <a:pt x="688604" y="1015631"/>
                </a:cubicBezTo>
                <a:cubicBezTo>
                  <a:pt x="638045" y="1020877"/>
                  <a:pt x="677999" y="1011556"/>
                  <a:pt x="618171" y="1027260"/>
                </a:cubicBezTo>
                <a:cubicBezTo>
                  <a:pt x="609680" y="1023165"/>
                  <a:pt x="583253" y="1020277"/>
                  <a:pt x="570379" y="1023487"/>
                </a:cubicBezTo>
                <a:cubicBezTo>
                  <a:pt x="543992" y="1022523"/>
                  <a:pt x="505183" y="1001686"/>
                  <a:pt x="482519" y="1002108"/>
                </a:cubicBezTo>
                <a:cubicBezTo>
                  <a:pt x="464011" y="1002285"/>
                  <a:pt x="495211" y="1007995"/>
                  <a:pt x="475319" y="1009922"/>
                </a:cubicBezTo>
                <a:cubicBezTo>
                  <a:pt x="450818" y="1011135"/>
                  <a:pt x="454804" y="1022539"/>
                  <a:pt x="431104" y="1009317"/>
                </a:cubicBezTo>
                <a:cubicBezTo>
                  <a:pt x="406857" y="1014651"/>
                  <a:pt x="399686" y="1008456"/>
                  <a:pt x="363782" y="1007585"/>
                </a:cubicBezTo>
                <a:cubicBezTo>
                  <a:pt x="350440" y="1012231"/>
                  <a:pt x="338145" y="1011245"/>
                  <a:pt x="325533" y="1008502"/>
                </a:cubicBezTo>
                <a:cubicBezTo>
                  <a:pt x="291944" y="1011745"/>
                  <a:pt x="259251" y="1008497"/>
                  <a:pt x="220429" y="1008927"/>
                </a:cubicBezTo>
                <a:cubicBezTo>
                  <a:pt x="180594" y="1015852"/>
                  <a:pt x="156150" y="1007265"/>
                  <a:pt x="114676" y="1007765"/>
                </a:cubicBezTo>
                <a:cubicBezTo>
                  <a:pt x="85718" y="1006195"/>
                  <a:pt x="43316" y="1001491"/>
                  <a:pt x="13470" y="998544"/>
                </a:cubicBezTo>
                <a:lnTo>
                  <a:pt x="0" y="997355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7EBD79-055B-A5F0-342C-AD101E52EFF6}"/>
              </a:ext>
            </a:extLst>
          </p:cNvPr>
          <p:cNvSpPr txBox="1"/>
          <p:nvPr/>
        </p:nvSpPr>
        <p:spPr>
          <a:xfrm>
            <a:off x="-186417" y="1998643"/>
            <a:ext cx="7484764" cy="4535064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342900" lvl="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eting logistics finalized</a:t>
            </a:r>
          </a:p>
          <a:p>
            <a:pPr marL="1257300" lvl="2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9 sets of focus group meetings by each company </a:t>
            </a:r>
          </a:p>
          <a:p>
            <a:pPr marL="1257300" lvl="2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 in different regions of the country for each crop</a:t>
            </a:r>
          </a:p>
          <a:p>
            <a:pPr marL="1257300" lvl="2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proximately 10-12 participants in each meeting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totype (1/3rd scale) manufactured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ster with color swatches developed 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aining document prepared for Group Leaders and Notetakers.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cel file developed for garment cost discussion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ecklist prepared 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r>
              <a:rPr lang="en-US" sz="2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eting held to train Group Leaders and Notetakers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Calibri" panose="020F0502020204030204" pitchFamily="34" charset="0"/>
              <a:buChar char="̶"/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lvl="0" indent="-342900">
              <a:lnSpc>
                <a:spcPct val="120000"/>
              </a:lnSpc>
              <a:spcAft>
                <a:spcPts val="600"/>
              </a:spcAft>
              <a:buClr>
                <a:srgbClr val="FB8131"/>
              </a:buClr>
              <a:buFont typeface="Wingdings" panose="05000000000000000000" pitchFamily="2" charset="2"/>
              <a:buChar char="§"/>
              <a:defRPr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07602E-BAAE-F199-0A82-6E59A909DD5A}"/>
              </a:ext>
            </a:extLst>
          </p:cNvPr>
          <p:cNvSpPr txBox="1"/>
          <p:nvPr/>
        </p:nvSpPr>
        <p:spPr>
          <a:xfrm>
            <a:off x="320271" y="464011"/>
            <a:ext cx="716582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>
                <a:latin typeface="+mj-lt"/>
              </a:rPr>
              <a:t>Planning for Step 2 – Focus Group Meetings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5D6B8473-C611-3718-EF2C-7180E58138B7}"/>
              </a:ext>
            </a:extLst>
          </p:cNvPr>
          <p:cNvGrpSpPr/>
          <p:nvPr/>
        </p:nvGrpSpPr>
        <p:grpSpPr>
          <a:xfrm>
            <a:off x="7428036" y="2623118"/>
            <a:ext cx="4582191" cy="3349307"/>
            <a:chOff x="7486094" y="2271627"/>
            <a:chExt cx="4582191" cy="334930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FA85AB9-03C5-AF58-DB66-B2AEA40876A7}"/>
                </a:ext>
              </a:extLst>
            </p:cNvPr>
            <p:cNvSpPr/>
            <p:nvPr/>
          </p:nvSpPr>
          <p:spPr>
            <a:xfrm>
              <a:off x="8098392" y="4208392"/>
              <a:ext cx="3969893" cy="1412542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316428F-48AF-47C1-53D2-9D66CDE3EECC}"/>
                </a:ext>
              </a:extLst>
            </p:cNvPr>
            <p:cNvSpPr/>
            <p:nvPr/>
          </p:nvSpPr>
          <p:spPr>
            <a:xfrm>
              <a:off x="7674998" y="4635673"/>
              <a:ext cx="921128" cy="79639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08FBD36-2C0E-D236-289A-D1F7C63AAA49}"/>
                </a:ext>
              </a:extLst>
            </p:cNvPr>
            <p:cNvSpPr/>
            <p:nvPr/>
          </p:nvSpPr>
          <p:spPr>
            <a:xfrm>
              <a:off x="8022700" y="2271627"/>
              <a:ext cx="4034548" cy="1412542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0" name="Picture 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479AF9A8-2AAC-E2FD-A34F-73847108F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86094" y="2591181"/>
              <a:ext cx="884902" cy="884902"/>
            </a:xfrm>
            <a:prstGeom prst="rect">
              <a:avLst/>
            </a:prstGeom>
          </p:spPr>
        </p:pic>
        <p:pic>
          <p:nvPicPr>
            <p:cNvPr id="11" name="Picture 2" descr="Syngenta – Logos Download">
              <a:extLst>
                <a:ext uri="{FF2B5EF4-FFF2-40B4-BE49-F238E27FC236}">
                  <a16:creationId xmlns:a16="http://schemas.microsoft.com/office/drawing/2014/main" id="{215B152C-BF0B-4074-D726-2BAE542E29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4998" y="4805420"/>
              <a:ext cx="884903" cy="2696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65B9D2B-68F9-650B-DA16-E25F1C38728B}"/>
                </a:ext>
              </a:extLst>
            </p:cNvPr>
            <p:cNvSpPr txBox="1"/>
            <p:nvPr/>
          </p:nvSpPr>
          <p:spPr>
            <a:xfrm>
              <a:off x="8748320" y="3318088"/>
              <a:ext cx="77510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cs typeface="Arial"/>
                </a:rPr>
                <a:t> Wheat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CBF9F1E-3597-3C13-286C-D9F9656BB398}"/>
                </a:ext>
              </a:extLst>
            </p:cNvPr>
            <p:cNvGrpSpPr/>
            <p:nvPr/>
          </p:nvGrpSpPr>
          <p:grpSpPr>
            <a:xfrm>
              <a:off x="8519262" y="2395497"/>
              <a:ext cx="995304" cy="840502"/>
              <a:chOff x="919942" y="1549643"/>
              <a:chExt cx="1388323" cy="1276881"/>
            </a:xfrm>
          </p:grpSpPr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5430DDDF-5164-EB90-6047-A94935C0632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19942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26" name="Oval 25">
                  <a:extLst>
                    <a:ext uri="{FF2B5EF4-FFF2-40B4-BE49-F238E27FC236}">
                      <a16:creationId xmlns:a16="http://schemas.microsoft.com/office/drawing/2014/main" id="{9117EBCC-9175-D0DE-A4F3-E26FB26622AB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27" name="Graphic 26" descr="Farmer male with solid fill">
                  <a:extLst>
                    <a:ext uri="{FF2B5EF4-FFF2-40B4-BE49-F238E27FC236}">
                      <a16:creationId xmlns:a16="http://schemas.microsoft.com/office/drawing/2014/main" id="{2B7973D2-A8A6-EEDD-D2BD-BBE9D9F7CA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7299DC90-54D6-6384-DAA3-82C086DDD008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10EDF6AD-6299-B5E0-33BB-2ED7629158C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669250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E011C932-F26F-24C4-E4E7-FAC5332D68C8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24" name="Graphic 23" descr="Farmer male with solid fill">
                  <a:extLst>
                    <a:ext uri="{FF2B5EF4-FFF2-40B4-BE49-F238E27FC236}">
                      <a16:creationId xmlns:a16="http://schemas.microsoft.com/office/drawing/2014/main" id="{3F40FE3B-67C7-1840-6D97-9D759EB0A2B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FE054098-639A-46E2-C587-FF22E7AC8955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A8675ED1-88AE-BEE9-AB99-9DC8206E7E8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340315" y="1549643"/>
                <a:ext cx="639015" cy="639015"/>
                <a:chOff x="1441174" y="2253497"/>
                <a:chExt cx="1005840" cy="1005840"/>
              </a:xfrm>
            </p:grpSpPr>
            <p:sp>
              <p:nvSpPr>
                <p:cNvPr id="20" name="Oval 19">
                  <a:extLst>
                    <a:ext uri="{FF2B5EF4-FFF2-40B4-BE49-F238E27FC236}">
                      <a16:creationId xmlns:a16="http://schemas.microsoft.com/office/drawing/2014/main" id="{BE34B9E1-493A-06A6-4597-47D70385A6DE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21" name="Graphic 20" descr="Farmer male with solid fill">
                  <a:extLst>
                    <a:ext uri="{FF2B5EF4-FFF2-40B4-BE49-F238E27FC236}">
                      <a16:creationId xmlns:a16="http://schemas.microsoft.com/office/drawing/2014/main" id="{6F04A011-8BA6-E39D-84B2-68100569123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54409393-AED3-3AF7-1576-66272347F574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F6F4617-AF67-ADCA-E9B0-592A3BB72271}"/>
                </a:ext>
              </a:extLst>
            </p:cNvPr>
            <p:cNvGrpSpPr/>
            <p:nvPr/>
          </p:nvGrpSpPr>
          <p:grpSpPr>
            <a:xfrm>
              <a:off x="9657028" y="2379099"/>
              <a:ext cx="995304" cy="840502"/>
              <a:chOff x="919942" y="1549643"/>
              <a:chExt cx="1388323" cy="1276881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CA8C2DE8-351F-5793-BB00-F4F867CE3B8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19942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71817CCD-4578-6938-40B5-98594E5148C5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40" name="Graphic 39" descr="Farmer male with solid fill">
                  <a:extLst>
                    <a:ext uri="{FF2B5EF4-FFF2-40B4-BE49-F238E27FC236}">
                      <a16:creationId xmlns:a16="http://schemas.microsoft.com/office/drawing/2014/main" id="{33753B29-9E1A-2A28-F4EE-7E6E23CCFC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1B796A70-20F0-3DE7-2E10-3359E0BA4D59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065738E7-B1C0-61FE-882D-DFA3B9C4D7F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669250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id="{B5D33537-EC1E-0EAE-D9EF-65700FAB9C5D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37" name="Graphic 36" descr="Farmer male with solid fill">
                  <a:extLst>
                    <a:ext uri="{FF2B5EF4-FFF2-40B4-BE49-F238E27FC236}">
                      <a16:creationId xmlns:a16="http://schemas.microsoft.com/office/drawing/2014/main" id="{73F77F0E-C9C2-8547-BE35-0A13DBAB665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38" name="Oval 37">
                  <a:extLst>
                    <a:ext uri="{FF2B5EF4-FFF2-40B4-BE49-F238E27FC236}">
                      <a16:creationId xmlns:a16="http://schemas.microsoft.com/office/drawing/2014/main" id="{32A3C0EE-962E-F389-BB7A-C1F7D015D2BD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A3B8F301-D4D4-4101-C545-E3D4B071EFC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340315" y="1549643"/>
                <a:ext cx="639015" cy="639015"/>
                <a:chOff x="1441174" y="2253497"/>
                <a:chExt cx="1005840" cy="1005840"/>
              </a:xfrm>
            </p:grpSpPr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928FB33B-C77E-2E9D-E528-BD432C0431E3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34" name="Graphic 33" descr="Farmer male with solid fill">
                  <a:extLst>
                    <a:ext uri="{FF2B5EF4-FFF2-40B4-BE49-F238E27FC236}">
                      <a16:creationId xmlns:a16="http://schemas.microsoft.com/office/drawing/2014/main" id="{CE95288F-967B-64BF-5FF1-1D151F5080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3F5141F2-72A1-517D-6939-010644DA7DA5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F53B3412-F632-4794-5A34-90AA365F54F3}"/>
                </a:ext>
              </a:extLst>
            </p:cNvPr>
            <p:cNvGrpSpPr/>
            <p:nvPr/>
          </p:nvGrpSpPr>
          <p:grpSpPr>
            <a:xfrm>
              <a:off x="10824361" y="2363844"/>
              <a:ext cx="995304" cy="840502"/>
              <a:chOff x="919942" y="1549643"/>
              <a:chExt cx="1388323" cy="1276881"/>
            </a:xfrm>
          </p:grpSpPr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EDDA7ABC-25BB-5A98-029D-7D168EC9291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19942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0A89B1C4-C80D-1C1A-8395-EFF86034CCB5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53" name="Graphic 52" descr="Farmer male with solid fill">
                  <a:extLst>
                    <a:ext uri="{FF2B5EF4-FFF2-40B4-BE49-F238E27FC236}">
                      <a16:creationId xmlns:a16="http://schemas.microsoft.com/office/drawing/2014/main" id="{971DE208-EDB5-4669-70A7-713CA502F95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6E43F323-6DF1-CA0D-DA3D-9DFCDFED4F64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6B14CC14-ACD4-8A1E-9457-D6E17057D16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669250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7B46DF19-46C6-1F97-EDD9-7BD776A0CB35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50" name="Graphic 49" descr="Farmer male with solid fill">
                  <a:extLst>
                    <a:ext uri="{FF2B5EF4-FFF2-40B4-BE49-F238E27FC236}">
                      <a16:creationId xmlns:a16="http://schemas.microsoft.com/office/drawing/2014/main" id="{7569746F-EAE3-C1BE-B938-6D44E976AC0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3A4C8422-FE43-DC3C-CFDA-E8AECE08B789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1643AD99-AB6B-CFA3-EC1E-A0FE198584A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340315" y="1549643"/>
                <a:ext cx="639015" cy="639015"/>
                <a:chOff x="1441174" y="2253497"/>
                <a:chExt cx="1005840" cy="1005840"/>
              </a:xfrm>
            </p:grpSpPr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E4926257-17D4-347A-803F-FA54C18E5F35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47" name="Graphic 46" descr="Farmer male with solid fill">
                  <a:extLst>
                    <a:ext uri="{FF2B5EF4-FFF2-40B4-BE49-F238E27FC236}">
                      <a16:creationId xmlns:a16="http://schemas.microsoft.com/office/drawing/2014/main" id="{4D9657CA-B5EB-5060-DCE6-90ED1A4ED0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7B7C2252-B721-DF1B-2B75-8F370A034613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60DAE0D-BA7F-808D-6D11-3E95E77BDFB7}"/>
                </a:ext>
              </a:extLst>
            </p:cNvPr>
            <p:cNvSpPr txBox="1"/>
            <p:nvPr/>
          </p:nvSpPr>
          <p:spPr>
            <a:xfrm>
              <a:off x="10007151" y="3327074"/>
              <a:ext cx="63862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cs typeface="Arial"/>
                </a:rPr>
                <a:t>Maiz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B13BEB6-47B4-50CE-ADAA-5E8575AC0457}"/>
                </a:ext>
              </a:extLst>
            </p:cNvPr>
            <p:cNvSpPr txBox="1"/>
            <p:nvPr/>
          </p:nvSpPr>
          <p:spPr>
            <a:xfrm>
              <a:off x="8847205" y="5298891"/>
              <a:ext cx="77510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cs typeface="Arial"/>
                </a:rPr>
                <a:t> Wheat</a:t>
              </a: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D0B70226-C6F0-BB2A-F478-BD9934071D89}"/>
                </a:ext>
              </a:extLst>
            </p:cNvPr>
            <p:cNvGrpSpPr/>
            <p:nvPr/>
          </p:nvGrpSpPr>
          <p:grpSpPr>
            <a:xfrm>
              <a:off x="8618147" y="4376300"/>
              <a:ext cx="995304" cy="840502"/>
              <a:chOff x="919942" y="1549643"/>
              <a:chExt cx="1388323" cy="1276881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76609403-5D04-A731-6503-1D18D04F392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19942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67" name="Oval 66">
                  <a:extLst>
                    <a:ext uri="{FF2B5EF4-FFF2-40B4-BE49-F238E27FC236}">
                      <a16:creationId xmlns:a16="http://schemas.microsoft.com/office/drawing/2014/main" id="{BFA84158-4059-F980-F3E4-655B86289224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68" name="Graphic 67" descr="Farmer male with solid fill">
                  <a:extLst>
                    <a:ext uri="{FF2B5EF4-FFF2-40B4-BE49-F238E27FC236}">
                      <a16:creationId xmlns:a16="http://schemas.microsoft.com/office/drawing/2014/main" id="{BA111B43-601E-9C38-84C6-B8F2B1F5AF2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69" name="Oval 68">
                  <a:extLst>
                    <a:ext uri="{FF2B5EF4-FFF2-40B4-BE49-F238E27FC236}">
                      <a16:creationId xmlns:a16="http://schemas.microsoft.com/office/drawing/2014/main" id="{0BCFB677-780B-FB9D-9A96-A66CF8F175A3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8554FD0A-D5F1-6B3B-6F58-51814F7321C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669250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16BDC24C-2F13-BCD8-8F50-B487891C01C1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65" name="Graphic 64" descr="Farmer male with solid fill">
                  <a:extLst>
                    <a:ext uri="{FF2B5EF4-FFF2-40B4-BE49-F238E27FC236}">
                      <a16:creationId xmlns:a16="http://schemas.microsoft.com/office/drawing/2014/main" id="{25A0F6CD-3A5C-C13C-76A4-AEA70B6CDA3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66" name="Oval 65">
                  <a:extLst>
                    <a:ext uri="{FF2B5EF4-FFF2-40B4-BE49-F238E27FC236}">
                      <a16:creationId xmlns:a16="http://schemas.microsoft.com/office/drawing/2014/main" id="{54CBB82C-EF8E-BFC8-BF07-B838EE9051E8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AAE35A3F-7A59-0415-FDE1-545D558C830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340315" y="1549643"/>
                <a:ext cx="639015" cy="639015"/>
                <a:chOff x="1441174" y="2253497"/>
                <a:chExt cx="1005840" cy="1005840"/>
              </a:xfrm>
            </p:grpSpPr>
            <p:sp>
              <p:nvSpPr>
                <p:cNvPr id="61" name="Oval 60">
                  <a:extLst>
                    <a:ext uri="{FF2B5EF4-FFF2-40B4-BE49-F238E27FC236}">
                      <a16:creationId xmlns:a16="http://schemas.microsoft.com/office/drawing/2014/main" id="{21A58677-45F6-5CBD-7EBA-DA671EF319FC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62" name="Graphic 61" descr="Farmer male with solid fill">
                  <a:extLst>
                    <a:ext uri="{FF2B5EF4-FFF2-40B4-BE49-F238E27FC236}">
                      <a16:creationId xmlns:a16="http://schemas.microsoft.com/office/drawing/2014/main" id="{F3DB8375-09ED-DDF4-1BEB-292E2B6EBF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9D9A8999-ADB6-7126-192E-3CE46178FFE2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6C79639B-2295-EBCB-FAD5-D06B70842803}"/>
                </a:ext>
              </a:extLst>
            </p:cNvPr>
            <p:cNvGrpSpPr/>
            <p:nvPr/>
          </p:nvGrpSpPr>
          <p:grpSpPr>
            <a:xfrm>
              <a:off x="9755913" y="4359902"/>
              <a:ext cx="995304" cy="840502"/>
              <a:chOff x="919942" y="1549643"/>
              <a:chExt cx="1388323" cy="1276881"/>
            </a:xfrm>
          </p:grpSpPr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FB4A326E-5FD3-F101-450D-7F67BBE3D02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19942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80" name="Oval 79">
                  <a:extLst>
                    <a:ext uri="{FF2B5EF4-FFF2-40B4-BE49-F238E27FC236}">
                      <a16:creationId xmlns:a16="http://schemas.microsoft.com/office/drawing/2014/main" id="{9489F086-B8DD-4C5F-6C21-F8638133DE46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81" name="Graphic 80" descr="Farmer male with solid fill">
                  <a:extLst>
                    <a:ext uri="{FF2B5EF4-FFF2-40B4-BE49-F238E27FC236}">
                      <a16:creationId xmlns:a16="http://schemas.microsoft.com/office/drawing/2014/main" id="{D17299BC-41AA-315A-0A28-B3587E666B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82" name="Oval 81">
                  <a:extLst>
                    <a:ext uri="{FF2B5EF4-FFF2-40B4-BE49-F238E27FC236}">
                      <a16:creationId xmlns:a16="http://schemas.microsoft.com/office/drawing/2014/main" id="{D598B162-1E0D-7D51-2EF3-21C7031A46C1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D650C827-F762-CEF7-1E1F-6EEDB513645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669250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A318E682-FC8A-241A-D875-30CDA1A4EA3D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78" name="Graphic 77" descr="Farmer male with solid fill">
                  <a:extLst>
                    <a:ext uri="{FF2B5EF4-FFF2-40B4-BE49-F238E27FC236}">
                      <a16:creationId xmlns:a16="http://schemas.microsoft.com/office/drawing/2014/main" id="{666DBB4E-2448-9149-5750-B616A9BA12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79" name="Oval 78">
                  <a:extLst>
                    <a:ext uri="{FF2B5EF4-FFF2-40B4-BE49-F238E27FC236}">
                      <a16:creationId xmlns:a16="http://schemas.microsoft.com/office/drawing/2014/main" id="{DE38A614-6467-69F9-8774-1320EE9BA3AB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AB0EBBBB-A094-7281-9E01-95CF7C7262C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340315" y="1549643"/>
                <a:ext cx="639015" cy="639015"/>
                <a:chOff x="1441174" y="2253497"/>
                <a:chExt cx="1005840" cy="1005840"/>
              </a:xfrm>
            </p:grpSpPr>
            <p:sp>
              <p:nvSpPr>
                <p:cNvPr id="74" name="Oval 73">
                  <a:extLst>
                    <a:ext uri="{FF2B5EF4-FFF2-40B4-BE49-F238E27FC236}">
                      <a16:creationId xmlns:a16="http://schemas.microsoft.com/office/drawing/2014/main" id="{33BA5ED0-1D25-8EA7-6F45-6B927BF6624A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75" name="Graphic 74" descr="Farmer male with solid fill">
                  <a:extLst>
                    <a:ext uri="{FF2B5EF4-FFF2-40B4-BE49-F238E27FC236}">
                      <a16:creationId xmlns:a16="http://schemas.microsoft.com/office/drawing/2014/main" id="{71A4450A-077B-3463-601C-60F004F983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26281102-419F-3803-B337-581328345CF1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F52867B0-8ED6-15CC-DF75-323BC0D8D385}"/>
                </a:ext>
              </a:extLst>
            </p:cNvPr>
            <p:cNvGrpSpPr/>
            <p:nvPr/>
          </p:nvGrpSpPr>
          <p:grpSpPr>
            <a:xfrm>
              <a:off x="10923246" y="4344647"/>
              <a:ext cx="995304" cy="840502"/>
              <a:chOff x="919942" y="1549643"/>
              <a:chExt cx="1388323" cy="1276881"/>
            </a:xfrm>
          </p:grpSpPr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9B89F1BE-C26E-13BE-8424-67353E53F07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19942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93" name="Oval 92">
                  <a:extLst>
                    <a:ext uri="{FF2B5EF4-FFF2-40B4-BE49-F238E27FC236}">
                      <a16:creationId xmlns:a16="http://schemas.microsoft.com/office/drawing/2014/main" id="{D09E6E8F-76A6-29D9-C98A-F4B57011745D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94" name="Graphic 93" descr="Farmer male with solid fill">
                  <a:extLst>
                    <a:ext uri="{FF2B5EF4-FFF2-40B4-BE49-F238E27FC236}">
                      <a16:creationId xmlns:a16="http://schemas.microsoft.com/office/drawing/2014/main" id="{E47163B1-656F-AC4A-2238-4C476774BC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95" name="Oval 94">
                  <a:extLst>
                    <a:ext uri="{FF2B5EF4-FFF2-40B4-BE49-F238E27FC236}">
                      <a16:creationId xmlns:a16="http://schemas.microsoft.com/office/drawing/2014/main" id="{BD1C233D-BBE4-520C-9689-4DADD291A5FB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C651A07A-0A55-A304-608E-0B3834D604C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669250" y="2187509"/>
                <a:ext cx="639015" cy="639015"/>
                <a:chOff x="1441174" y="2253497"/>
                <a:chExt cx="1005840" cy="1005840"/>
              </a:xfrm>
            </p:grpSpPr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F2C0CBC7-F8A4-1004-0B4A-A49A716CB150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91" name="Graphic 90" descr="Farmer male with solid fill">
                  <a:extLst>
                    <a:ext uri="{FF2B5EF4-FFF2-40B4-BE49-F238E27FC236}">
                      <a16:creationId xmlns:a16="http://schemas.microsoft.com/office/drawing/2014/main" id="{9D168FA2-373D-B541-E885-8B1884D4B74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5A2E5A50-EC3B-6C72-C312-182B9C5D5573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FFDD75F6-99D8-08D8-4187-329438509A0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340315" y="1549643"/>
                <a:ext cx="639015" cy="639015"/>
                <a:chOff x="1441174" y="2253497"/>
                <a:chExt cx="1005840" cy="1005840"/>
              </a:xfrm>
            </p:grpSpPr>
            <p:sp>
              <p:nvSpPr>
                <p:cNvPr id="87" name="Oval 86">
                  <a:extLst>
                    <a:ext uri="{FF2B5EF4-FFF2-40B4-BE49-F238E27FC236}">
                      <a16:creationId xmlns:a16="http://schemas.microsoft.com/office/drawing/2014/main" id="{F2410FA2-18CF-A7AD-D656-3C0065317925}"/>
                    </a:ext>
                  </a:extLst>
                </p:cNvPr>
                <p:cNvSpPr/>
                <p:nvPr/>
              </p:nvSpPr>
              <p:spPr>
                <a:xfrm>
                  <a:off x="1486894" y="2289976"/>
                  <a:ext cx="914400" cy="914400"/>
                </a:xfrm>
                <a:prstGeom prst="ellipse">
                  <a:avLst/>
                </a:prstGeom>
                <a:noFill/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  <p:pic>
              <p:nvPicPr>
                <p:cNvPr id="88" name="Graphic 87" descr="Farmer male with solid fill">
                  <a:extLst>
                    <a:ext uri="{FF2B5EF4-FFF2-40B4-BE49-F238E27FC236}">
                      <a16:creationId xmlns:a16="http://schemas.microsoft.com/office/drawing/2014/main" id="{1FE7F168-68A1-16CC-675A-6565AFC8FC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715494" y="2449002"/>
                  <a:ext cx="526774" cy="526774"/>
                </a:xfrm>
                <a:prstGeom prst="rect">
                  <a:avLst/>
                </a:prstGeom>
              </p:spPr>
            </p:pic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DD94E9FA-8110-551A-DA03-2F7FF9D32412}"/>
                    </a:ext>
                  </a:extLst>
                </p:cNvPr>
                <p:cNvSpPr/>
                <p:nvPr/>
              </p:nvSpPr>
              <p:spPr>
                <a:xfrm>
                  <a:off x="1441174" y="2253497"/>
                  <a:ext cx="1005840" cy="1005840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cs typeface="Arial"/>
                  </a:endParaRPr>
                </a:p>
              </p:txBody>
            </p:sp>
          </p:grpSp>
        </p:grp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C9D00F64-5992-72D2-BAF4-F38DA9FE91D8}"/>
                </a:ext>
              </a:extLst>
            </p:cNvPr>
            <p:cNvSpPr txBox="1"/>
            <p:nvPr/>
          </p:nvSpPr>
          <p:spPr>
            <a:xfrm>
              <a:off x="10106036" y="5307877"/>
              <a:ext cx="63862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cs typeface="Arial"/>
                </a:rPr>
                <a:t>Maize</a:t>
              </a:r>
            </a:p>
          </p:txBody>
        </p: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CF95FB25-E464-A149-765A-4C333F5BE071}"/>
              </a:ext>
            </a:extLst>
          </p:cNvPr>
          <p:cNvSpPr txBox="1"/>
          <p:nvPr/>
        </p:nvSpPr>
        <p:spPr>
          <a:xfrm>
            <a:off x="10903821" y="5672895"/>
            <a:ext cx="117881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Vegetables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255083B-BB4E-9523-A209-0E0B63D9CDCC}"/>
              </a:ext>
            </a:extLst>
          </p:cNvPr>
          <p:cNvSpPr txBox="1"/>
          <p:nvPr/>
        </p:nvSpPr>
        <p:spPr>
          <a:xfrm>
            <a:off x="11137545" y="3678565"/>
            <a:ext cx="63862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Coffe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6F207CCD-E1AA-A4E4-8082-BFCB11B17E42}"/>
              </a:ext>
            </a:extLst>
          </p:cNvPr>
          <p:cNvSpPr txBox="1"/>
          <p:nvPr/>
        </p:nvSpPr>
        <p:spPr>
          <a:xfrm>
            <a:off x="5687236" y="704706"/>
            <a:ext cx="2150854" cy="161583"/>
          </a:xfrm>
          <a:prstGeom prst="rect">
            <a:avLst/>
          </a:prstGeom>
          <a:solidFill>
            <a:srgbClr val="FDF0DB"/>
          </a:solidFill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cs typeface="Arial"/>
              </a:rPr>
              <a:t>Each set ~ 10-12 farmers</a:t>
            </a:r>
          </a:p>
        </p:txBody>
      </p:sp>
    </p:spTree>
    <p:extLst>
      <p:ext uri="{BB962C8B-B14F-4D97-AF65-F5344CB8AC3E}">
        <p14:creationId xmlns:p14="http://schemas.microsoft.com/office/powerpoint/2010/main" val="168850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yngenta Landscape 2007">
  <a:themeElements>
    <a:clrScheme name="Syngenta 2007">
      <a:dk1>
        <a:srgbClr val="626469"/>
      </a:dk1>
      <a:lt1>
        <a:srgbClr val="FFFFFF"/>
      </a:lt1>
      <a:dk2>
        <a:srgbClr val="5F7800"/>
      </a:dk2>
      <a:lt2>
        <a:srgbClr val="FFB400"/>
      </a:lt2>
      <a:accent1>
        <a:srgbClr val="00A0BE"/>
      </a:accent1>
      <a:accent2>
        <a:srgbClr val="AAB400"/>
      </a:accent2>
      <a:accent3>
        <a:srgbClr val="EB8200"/>
      </a:accent3>
      <a:accent4>
        <a:srgbClr val="82C8DC"/>
      </a:accent4>
      <a:accent5>
        <a:srgbClr val="FFB400"/>
      </a:accent5>
      <a:accent6>
        <a:srgbClr val="5F7800"/>
      </a:accent6>
      <a:hlink>
        <a:srgbClr val="EB8200"/>
      </a:hlink>
      <a:folHlink>
        <a:srgbClr val="82C8DC"/>
      </a:folHlink>
    </a:clrScheme>
    <a:fontScheme name="Printout 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rtlCol="0">
        <a:normAutofit/>
      </a:bodyPr>
      <a:lstStyle>
        <a:defPPr>
          <a:spcBef>
            <a:spcPts val="0"/>
          </a:spcBef>
          <a:spcAft>
            <a:spcPts val="600"/>
          </a:spcAft>
          <a:defRPr sz="20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BASF_FolienDesign_V10">
  <a:themeElements>
    <a:clrScheme name="Benutzerdefiniert 5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B47471D2-33A4-4A7B-A94E-23ADDE5DAC52}" vid="{78647E2F-4FB8-445B-BBC6-EE3791E00904}"/>
    </a:ext>
  </a:extLst>
</a:theme>
</file>

<file path=ppt/theme/theme4.xml><?xml version="1.0" encoding="utf-8"?>
<a:theme xmlns:a="http://schemas.openxmlformats.org/drawingml/2006/main" name="1_BASF_FolienDesign_V10">
  <a:themeElements>
    <a:clrScheme name="Benutzerdefiniert 5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B47471D2-33A4-4A7B-A94E-23ADDE5DAC52}" vid="{78647E2F-4FB8-445B-BBC6-EE3791E00904}"/>
    </a:ext>
  </a:extLst>
</a:theme>
</file>

<file path=ppt/theme/theme5.xml><?xml version="1.0" encoding="utf-8"?>
<a:theme xmlns:a="http://schemas.openxmlformats.org/drawingml/2006/main" name="1_Syngenta Landscape 2007">
  <a:themeElements>
    <a:clrScheme name="Syngenta 2007">
      <a:dk1>
        <a:srgbClr val="626469"/>
      </a:dk1>
      <a:lt1>
        <a:srgbClr val="FFFFFF"/>
      </a:lt1>
      <a:dk2>
        <a:srgbClr val="5F7800"/>
      </a:dk2>
      <a:lt2>
        <a:srgbClr val="FFB400"/>
      </a:lt2>
      <a:accent1>
        <a:srgbClr val="00A0BE"/>
      </a:accent1>
      <a:accent2>
        <a:srgbClr val="AAB400"/>
      </a:accent2>
      <a:accent3>
        <a:srgbClr val="EB8200"/>
      </a:accent3>
      <a:accent4>
        <a:srgbClr val="82C8DC"/>
      </a:accent4>
      <a:accent5>
        <a:srgbClr val="FFB400"/>
      </a:accent5>
      <a:accent6>
        <a:srgbClr val="5F7800"/>
      </a:accent6>
      <a:hlink>
        <a:srgbClr val="EB8200"/>
      </a:hlink>
      <a:folHlink>
        <a:srgbClr val="82C8DC"/>
      </a:folHlink>
    </a:clrScheme>
    <a:fontScheme name="Printout 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 w="6350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ts val="60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rtlCol="0">
        <a:normAutofit/>
      </a:bodyPr>
      <a:lstStyle>
        <a:defPPr>
          <a:spcBef>
            <a:spcPts val="0"/>
          </a:spcBef>
          <a:spcAft>
            <a:spcPts val="600"/>
          </a:spcAft>
          <a:defRPr sz="20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44</TotalTime>
  <Words>827</Words>
  <Application>Microsoft Office PowerPoint</Application>
  <PresentationFormat>Widescreen</PresentationFormat>
  <Paragraphs>164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rial</vt:lpstr>
      <vt:lpstr>Calibri</vt:lpstr>
      <vt:lpstr>Calibri Light</vt:lpstr>
      <vt:lpstr>Segoe UI</vt:lpstr>
      <vt:lpstr>Wingdings</vt:lpstr>
      <vt:lpstr>Wingdings 3</vt:lpstr>
      <vt:lpstr>Office Theme</vt:lpstr>
      <vt:lpstr>Syngenta Landscape 2007</vt:lpstr>
      <vt:lpstr>BASF_FolienDesign_V10</vt:lpstr>
      <vt:lpstr>1_BASF_FolienDesign_V10</vt:lpstr>
      <vt:lpstr>1_Syngenta Landscape 2007</vt:lpstr>
      <vt:lpstr>think-cell Folie</vt:lpstr>
      <vt:lpstr>think-cell Slide</vt:lpstr>
      <vt:lpstr>USER INPUT FOR PPE FOR PESTICIDE OPERATORS: A GLOBAL FRAMEWORK FOR DATA COLLECTION</vt:lpstr>
      <vt:lpstr>Introduction</vt:lpstr>
      <vt:lpstr>ICPPE-LMIC Initiative</vt:lpstr>
      <vt:lpstr>PPE for Risk Mitig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ugrah</dc:creator>
  <cp:lastModifiedBy>Anugrah</cp:lastModifiedBy>
  <cp:revision>50</cp:revision>
  <dcterms:created xsi:type="dcterms:W3CDTF">2023-02-27T23:09:52Z</dcterms:created>
  <dcterms:modified xsi:type="dcterms:W3CDTF">2023-05-10T08:05:21Z</dcterms:modified>
</cp:coreProperties>
</file>